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5.xml" ContentType="application/vnd.openxmlformats-officedocument.them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6.xml" ContentType="application/vnd.openxmlformats-officedocument.theme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7.xml" ContentType="application/vnd.openxmlformats-officedocument.theme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8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9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10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heme/theme11.xml" ContentType="application/vnd.openxmlformats-officedocument.theme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heme/theme1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3.xml" ContentType="application/vnd.openxmlformats-officedocument.theme+xml"/>
  <Override PartName="/ppt/theme/theme1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  <p:sldMasterId id="2147483716" r:id="rId5"/>
    <p:sldMasterId id="2147483878" r:id="rId6"/>
    <p:sldMasterId id="2147483720" r:id="rId7"/>
    <p:sldMasterId id="2147483732" r:id="rId8"/>
    <p:sldMasterId id="2147484036" r:id="rId9"/>
    <p:sldMasterId id="2147483742" r:id="rId10"/>
    <p:sldMasterId id="2147483824" r:id="rId11"/>
    <p:sldMasterId id="2147483984" r:id="rId12"/>
    <p:sldMasterId id="2147483859" r:id="rId13"/>
    <p:sldMasterId id="2147483929" r:id="rId14"/>
    <p:sldMasterId id="2147483783" r:id="rId15"/>
  </p:sldMasterIdLst>
  <p:notesMasterIdLst>
    <p:notesMasterId r:id="rId46"/>
  </p:notesMasterIdLst>
  <p:handoutMasterIdLst>
    <p:handoutMasterId r:id="rId47"/>
  </p:handoutMasterIdLst>
  <p:sldIdLst>
    <p:sldId id="462" r:id="rId16"/>
    <p:sldId id="629" r:id="rId17"/>
    <p:sldId id="11474" r:id="rId18"/>
    <p:sldId id="11476" r:id="rId19"/>
    <p:sldId id="11477" r:id="rId20"/>
    <p:sldId id="11479" r:id="rId21"/>
    <p:sldId id="11478" r:id="rId22"/>
    <p:sldId id="11480" r:id="rId23"/>
    <p:sldId id="727" r:id="rId24"/>
    <p:sldId id="749" r:id="rId25"/>
    <p:sldId id="867" r:id="rId26"/>
    <p:sldId id="921" r:id="rId27"/>
    <p:sldId id="922" r:id="rId28"/>
    <p:sldId id="806" r:id="rId29"/>
    <p:sldId id="866" r:id="rId30"/>
    <p:sldId id="777" r:id="rId31"/>
    <p:sldId id="756" r:id="rId32"/>
    <p:sldId id="832" r:id="rId33"/>
    <p:sldId id="878" r:id="rId34"/>
    <p:sldId id="827" r:id="rId35"/>
    <p:sldId id="826" r:id="rId36"/>
    <p:sldId id="825" r:id="rId37"/>
    <p:sldId id="873" r:id="rId38"/>
    <p:sldId id="824" r:id="rId39"/>
    <p:sldId id="886" r:id="rId40"/>
    <p:sldId id="761" r:id="rId41"/>
    <p:sldId id="836" r:id="rId42"/>
    <p:sldId id="923" r:id="rId43"/>
    <p:sldId id="924" r:id="rId44"/>
    <p:sldId id="907" r:id="rId4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Connect Student Registration" id="{5C75EF3B-86B8-6647-A64C-81E4B07450B2}">
          <p14:sldIdLst>
            <p14:sldId id="462"/>
            <p14:sldId id="629"/>
            <p14:sldId id="11474"/>
            <p14:sldId id="11476"/>
            <p14:sldId id="11477"/>
            <p14:sldId id="11479"/>
            <p14:sldId id="11478"/>
            <p14:sldId id="11480"/>
          </p14:sldIdLst>
        </p14:section>
        <p14:section name="TOC &amp; FDOC Checklist" id="{6CE5E4CA-59C8-844C-8F3F-C2A54C0601F1}">
          <p14:sldIdLst>
            <p14:sldId id="727"/>
          </p14:sldIdLst>
        </p14:section>
        <p14:section name="CONNECT and Sharpen Companion FDOC" id="{A0C82838-10D7-43A1-9983-E9A634D22EF6}">
          <p14:sldIdLst>
            <p14:sldId id="749"/>
            <p14:sldId id="867"/>
            <p14:sldId id="921"/>
            <p14:sldId id="922"/>
            <p14:sldId id="806"/>
            <p14:sldId id="866"/>
            <p14:sldId id="777"/>
            <p14:sldId id="756"/>
          </p14:sldIdLst>
        </p14:section>
        <p14:section name="Sharpen Companion: Connect Non-IA, with LMS" id="{53C6C3A9-B3E0-4122-97C9-6E1E6D7D61D3}">
          <p14:sldIdLst>
            <p14:sldId id="832"/>
            <p14:sldId id="878"/>
            <p14:sldId id="827"/>
            <p14:sldId id="826"/>
            <p14:sldId id="825"/>
            <p14:sldId id="873"/>
            <p14:sldId id="824"/>
            <p14:sldId id="886"/>
            <p14:sldId id="761"/>
          </p14:sldIdLst>
        </p14:section>
        <p14:section name="Sharpen Companion: Connect Log-In with LMS" id="{AA956BDD-B3DA-40BB-9958-206883F48C3F}">
          <p14:sldIdLst>
            <p14:sldId id="836"/>
            <p14:sldId id="923"/>
            <p14:sldId id="924"/>
            <p14:sldId id="907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BD84612-01DC-28C1-4AA5-EDB50D6A630E}" name="Henig, Sarit" initials="HS" userId="S::sarit.henig@mheducation.com::ad83c6bf-9a7d-4a88-b545-e6e8836bd6ee" providerId="AD"/>
  <p188:author id="{C1D3EC44-2A49-0274-D086-8618EBEE3CBE}" name="Aller, Natalie" initials="" userId="S::Natalie.Aller@mheducation.com::92aaa3dc-9298-450d-b5b0-88d600ea217d" providerId="AD"/>
  <p188:author id="{1615368D-5146-B2EC-766E-281DF745382A}" name="Mcmanus, Cathy" initials="MC" userId="S::cathy.mcmanus@mheducation.com::f6f2004f-42b0-4d49-b784-7d0ab1b5edee" providerId="AD"/>
  <p188:author id="{A73DA2DF-F3D0-C5CA-884D-19E61C0D3FFA}" name="Smitherman, Erin" initials="SE" userId="S::erin.smitherman@mheducation.com::6a5b2dc9-4c06-4251-b6ef-d4dc50cd37d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8"/>
    <p:restoredTop sz="94209" autoAdjust="0"/>
  </p:normalViewPr>
  <p:slideViewPr>
    <p:cSldViewPr snapToGrid="0">
      <p:cViewPr varScale="1">
        <p:scale>
          <a:sx n="95" d="100"/>
          <a:sy n="95" d="100"/>
        </p:scale>
        <p:origin x="200" y="6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handoutMaster" Target="handoutMasters/handoutMaster1.xml"/><Relationship Id="rId50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9" Type="http://schemas.openxmlformats.org/officeDocument/2006/relationships/slide" Target="slides/slide14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viewProps" Target="viewProp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microsoft.com/office/2018/10/relationships/authors" Target="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presProps" Target="presProps.xml"/><Relationship Id="rId8" Type="http://schemas.openxmlformats.org/officeDocument/2006/relationships/slideMaster" Target="slideMasters/slideMaster5.xml"/><Relationship Id="rId51" Type="http://schemas.openxmlformats.org/officeDocument/2006/relationships/tableStyles" Target="tableStyles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notesMaster" Target="notesMasters/notesMaster1.xml"/><Relationship Id="rId20" Type="http://schemas.openxmlformats.org/officeDocument/2006/relationships/slide" Target="slides/slide5.xml"/><Relationship Id="rId41" Type="http://schemas.openxmlformats.org/officeDocument/2006/relationships/slide" Target="slides/slide26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C8B9842-8E57-FA7B-7478-DA412A87942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95C62FE-88B7-0EC8-CDBC-5AF99272B48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A088991-3BD6-5945-A53D-477BACF5905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A025C13-6B8D-C011-C705-95ADF35F836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8C2207-B0CB-1138-0457-10588AA5498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A42495-FACE-F749-8D87-3175C066BC5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90389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DAD9B68-2129-E747-B5AF-0553D7866B9D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A9B8B0-6DDC-8945-BE88-15F72254A71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46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6968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6BA09C-FA6D-2E31-A31A-11B853024AA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CA09232-9813-F9D0-B520-2BBEFBD649B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FFF96E22-44E5-A3B8-BE31-298EA2989F3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392C17-C704-010B-A7C5-14C6988137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542176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C7C658-A5C1-FE5E-594D-ABEBB904433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DB31A124-2349-67C9-279B-51F8F2C236A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71620C5-575E-A89D-335F-663083F5033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B0084B0-B107-07FA-18ED-6272844AE31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437289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0792D7C-7077-49A2-6043-185CD13F88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827336EB-F27A-0281-8053-D53E10C33BD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6309209-BCF7-5CBE-6370-0E29E3B7CF3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 panose="020F0502020204030204"/>
              <a:cs typeface="Calibri" panose="020F0502020204030204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E15C2E4-3337-BE78-698B-5CDBD7966910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90144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8D415BE-95DE-4DD7-6011-37DC123B8F8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15059056-98C0-0FFA-9122-4E2AA5C220B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C523A4F-F7C8-EA79-5531-09DE61541BB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CDF6188-0AD5-6C87-0037-76AF4DE33A49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36083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13055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D0C071D-1E94-E403-D848-9F2F4830BAE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9FA0B0E-C5DB-D5A9-6F4E-0966FA3293C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9526B9B-F990-2BF1-1FD4-100E30DD7D2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ACC7ED-F7D1-F236-84C3-F7D796DF0D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194969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4BE3E33-2880-BE9E-0FAF-2CA6501DD13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AC6E53E-81CF-B4B7-E597-5EE4B3089BB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6141CABA-03D0-825C-60F0-3D02FC4B72E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82D1210-6FC6-71C5-351C-5F8BBB8FC6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475117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CF6674D-0A53-AB07-744A-1C24EF8A644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31AA5F80-4387-9599-B128-B0F03661DB5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A96F3D9-DEB4-9C13-CC81-2E40F3BC8D9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3737BF-5157-624B-5B14-A5212FC02B2C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4848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DEB3DE7-1DC7-1E31-5ADB-F80FFEB5DF0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95DAA08-EC31-02F6-8229-9B38AC17CA3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5377F32-AAC4-D4B9-1591-66A6BA3EB78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D09631A-9AFB-78F2-508C-8E40C52BFEB6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780624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24151D1-45D5-5A35-96D1-56B4A38AF6B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F26732C9-D94D-44DC-BC98-6CA3340AEBB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EA6DC4CE-42A6-CA52-0B6B-85E03F224A5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ea typeface="Calibri"/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77B608-E21E-B4A8-1C5C-7611F7AB4F5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280009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6261ABF-A388-0B40-BA66-489EF1132D8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860761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4E468F-43DF-2D49-D1EB-723751A6E3D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286448FC-7289-EC2B-4428-7986329D6D0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2F0913A-2931-5147-7997-0050C8DE999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3B3B675-7202-8F23-8FB9-5AD84F9CDBB5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4020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149961B-31B7-CA90-926C-5ECDE7F16F0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75DB49C-6396-85C0-251C-7B849B4D07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E573326-405A-C78B-BDB7-5FBB7383217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2A4A9C-6F17-D574-D265-5D2147CF63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277426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F1FBB53-D2B7-E0B5-D7A8-05E0CB6307B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3904F77-02AE-669B-6080-B86093E4BD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9C02F2C-AD4D-7257-779F-C0D801BB205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0839A9C-5457-CC4F-DE30-BA18156508F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57705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085315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8FF1BC-FF4E-71C9-CFBF-7D651E35892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61D75D9-F516-D004-25EC-7D80CEF58EF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65D3F53-B6C5-65CB-637A-98284999BDE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99002CD-E621-8B38-7990-B11D0652ECC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84794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1D013AA-1138-5F50-B101-C4D9E429EC9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C766156-B026-DFBD-0A2A-9DFE4D469F5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256B0CC-DB99-009A-C49A-E7B5F264AED6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E7BD82-F14E-BDB4-0B66-FFF98EFCC61F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9482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EE336E-5A56-CB71-CF59-91C81F94CB8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7C7B8BF-AEBC-CE5C-99A8-63977D3D831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5CC62735-72E5-83C1-ABFF-ED6FE7EBB62F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ABE12AF-C398-2151-97BC-78873F53A20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9510059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E02AC0C-1B8B-F697-680A-C5781B2E9E7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6113FD99-5DA6-6BF6-254C-4B1A88BB09F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231E63C-B9A7-A061-FC88-DD3933BBB080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A23A2C2-7808-FED1-2B02-9DF422B8AF1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94755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C122A62-A79E-4119-B229-FBF7365A5F3C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78977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4164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877494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61F4AA9-FBAD-4349-DAE2-74DE39C58E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A95DE03E-AA78-2089-2D72-4E37044914F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0657EDD-AAA5-16A4-C365-DA1D52687B1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628CA6C-AA40-EA62-990A-C5F58A4A4BC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8319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D90F11-AC95-B7A2-2E34-BE03514B71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46A7DAC3-63BE-4B12-FF9C-FFAAB114FAD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C4D5C23F-3B07-BF25-2B92-48EFD4F26F3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A1EFF6A-F2B8-DB33-A599-39F0183DD01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47609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CE3A782-D5A0-D999-8897-E32A878786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5D14309B-CD31-72F6-0959-6A4590D8DC5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1C5C408E-7AE3-AAFC-39D6-4BD7D480F9D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533394B-3C62-9C18-E0C8-65AE2A9884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337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CA9B8B0-6DDC-8945-BE88-15F72254A71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03985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0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2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3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5.xml"/><Relationship Id="rId5" Type="http://schemas.openxmlformats.org/officeDocument/2006/relationships/image" Target="https://d3k81ch9hvuctc.cloudfront.net/company/Ugs4T4/images/6853a8bb-2058-4d8a-887c-efa660b90745.png" TargetMode="External"/><Relationship Id="rId4" Type="http://schemas.openxmlformats.org/officeDocument/2006/relationships/image" Target="../media/image25.emf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https://d3k81ch9hvuctc.cloudfront.net/company/Ugs4T4/images/6853a8bb-2058-4d8a-887c-efa660b90745.png" TargetMode="External"/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19.sv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1.sv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3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EDF070E-4902-2446-B5CB-C543792B30F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12" name="Group 11">
            <a:extLst>
              <a:ext uri="{FF2B5EF4-FFF2-40B4-BE49-F238E27FC236}">
                <a16:creationId xmlns:a16="http://schemas.microsoft.com/office/drawing/2014/main" id="{98F4E8AE-83DE-3E46-8112-47F77FF98D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498906"/>
            <a:ext cx="11897228" cy="5155113"/>
            <a:chOff x="0" y="498906"/>
            <a:chExt cx="11897228" cy="5155113"/>
          </a:xfrm>
        </p:grpSpPr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DD5D82C0-6CAF-574D-B118-855822081320}"/>
                </a:ext>
              </a:extLst>
            </p:cNvPr>
            <p:cNvSpPr/>
            <p:nvPr userDrawn="1"/>
          </p:nvSpPr>
          <p:spPr>
            <a:xfrm rot="18900000">
              <a:off x="10849492" y="884438"/>
              <a:ext cx="9581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1" name="Rectangle 40">
              <a:extLst>
                <a:ext uri="{FF2B5EF4-FFF2-40B4-BE49-F238E27FC236}">
                  <a16:creationId xmlns:a16="http://schemas.microsoft.com/office/drawing/2014/main" id="{C9EDF456-8163-F143-AF4A-903B97CE9BC9}"/>
                </a:ext>
              </a:extLst>
            </p:cNvPr>
            <p:cNvSpPr/>
            <p:nvPr userDrawn="1"/>
          </p:nvSpPr>
          <p:spPr>
            <a:xfrm rot="18900000">
              <a:off x="10890847" y="984019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82336C6D-E628-0041-857C-9322A2451661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53" name="Parallelogram 52">
                <a:extLst>
                  <a:ext uri="{FF2B5EF4-FFF2-40B4-BE49-F238E27FC236}">
                    <a16:creationId xmlns:a16="http://schemas.microsoft.com/office/drawing/2014/main" id="{DCC0BD75-E04F-104D-9C21-744FA4C6EF68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4" name="Parallelogram 53">
                <a:extLst>
                  <a:ext uri="{FF2B5EF4-FFF2-40B4-BE49-F238E27FC236}">
                    <a16:creationId xmlns:a16="http://schemas.microsoft.com/office/drawing/2014/main" id="{BFEE5699-8431-704F-A655-FD491E2D8B60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0" name="Group 49">
              <a:extLst>
                <a:ext uri="{FF2B5EF4-FFF2-40B4-BE49-F238E27FC236}">
                  <a16:creationId xmlns:a16="http://schemas.microsoft.com/office/drawing/2014/main" id="{648EC5FD-D283-3B4D-A3B4-908D0BC14F43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51" name="Parallelogram 61">
                <a:extLst>
                  <a:ext uri="{FF2B5EF4-FFF2-40B4-BE49-F238E27FC236}">
                    <a16:creationId xmlns:a16="http://schemas.microsoft.com/office/drawing/2014/main" id="{AD9D228C-7638-1141-83AF-BA7FF2D55EAE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Parallelogram 61">
                <a:extLst>
                  <a:ext uri="{FF2B5EF4-FFF2-40B4-BE49-F238E27FC236}">
                    <a16:creationId xmlns:a16="http://schemas.microsoft.com/office/drawing/2014/main" id="{CEF32391-A87F-C646-AB2F-1C912C7ABA50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77736CA0-AFFD-DB4F-8C22-2F4A88CE95D4}"/>
                </a:ext>
              </a:extLst>
            </p:cNvPr>
            <p:cNvSpPr/>
            <p:nvPr userDrawn="1"/>
          </p:nvSpPr>
          <p:spPr>
            <a:xfrm>
              <a:off x="9552721" y="1203981"/>
              <a:ext cx="1482643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81F8AE9E-4B8A-9E48-8669-C9853A249D82}"/>
                </a:ext>
              </a:extLst>
            </p:cNvPr>
            <p:cNvSpPr/>
            <p:nvPr userDrawn="1"/>
          </p:nvSpPr>
          <p:spPr>
            <a:xfrm>
              <a:off x="9618398" y="1320692"/>
              <a:ext cx="1460280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7" name="Rectangle 56">
              <a:extLst>
                <a:ext uri="{FF2B5EF4-FFF2-40B4-BE49-F238E27FC236}">
                  <a16:creationId xmlns:a16="http://schemas.microsoft.com/office/drawing/2014/main" id="{A43DF850-F8DA-9A4F-A9A4-0D9AAD65685F}"/>
                </a:ext>
              </a:extLst>
            </p:cNvPr>
            <p:cNvSpPr/>
            <p:nvPr userDrawn="1"/>
          </p:nvSpPr>
          <p:spPr>
            <a:xfrm rot="16200000">
              <a:off x="7335022" y="3370643"/>
              <a:ext cx="4450040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8" name="Rectangle 57">
              <a:extLst>
                <a:ext uri="{FF2B5EF4-FFF2-40B4-BE49-F238E27FC236}">
                  <a16:creationId xmlns:a16="http://schemas.microsoft.com/office/drawing/2014/main" id="{DB35AD5C-8478-8E4E-98D3-32BC46C27148}"/>
                </a:ext>
              </a:extLst>
            </p:cNvPr>
            <p:cNvSpPr/>
            <p:nvPr userDrawn="1"/>
          </p:nvSpPr>
          <p:spPr>
            <a:xfrm rot="16200000">
              <a:off x="7510091" y="3428998"/>
              <a:ext cx="4333326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Rectangle 59">
              <a:extLst>
                <a:ext uri="{FF2B5EF4-FFF2-40B4-BE49-F238E27FC236}">
                  <a16:creationId xmlns:a16="http://schemas.microsoft.com/office/drawing/2014/main" id="{C5E48F8A-E28A-FB4B-B7D2-9FB364C19165}"/>
                </a:ext>
              </a:extLst>
            </p:cNvPr>
            <p:cNvSpPr/>
            <p:nvPr userDrawn="1"/>
          </p:nvSpPr>
          <p:spPr>
            <a:xfrm>
              <a:off x="0" y="5420595"/>
              <a:ext cx="957261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Rectangle 60">
              <a:extLst>
                <a:ext uri="{FF2B5EF4-FFF2-40B4-BE49-F238E27FC236}">
                  <a16:creationId xmlns:a16="http://schemas.microsoft.com/office/drawing/2014/main" id="{63ECE769-2F0D-354F-8005-B0E084BFBE6D}"/>
                </a:ext>
              </a:extLst>
            </p:cNvPr>
            <p:cNvSpPr/>
            <p:nvPr userDrawn="1"/>
          </p:nvSpPr>
          <p:spPr>
            <a:xfrm>
              <a:off x="0" y="5537306"/>
              <a:ext cx="966417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Rectangle 20">
            <a:extLst>
              <a:ext uri="{FF2B5EF4-FFF2-40B4-BE49-F238E27FC236}">
                <a16:creationId xmlns:a16="http://schemas.microsoft.com/office/drawing/2014/main" id="{ABADAE6B-754B-4148-902D-7F291DD0F7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07EC5B62-5641-E247-A8B8-460001BE78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rgbClr val="E21A23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2">
            <a:extLst>
              <a:ext uri="{FF2B5EF4-FFF2-40B4-BE49-F238E27FC236}">
                <a16:creationId xmlns:a16="http://schemas.microsoft.com/office/drawing/2014/main" id="{67A20382-9199-2847-97B8-8288D88FD1A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4" name="Subtitle">
            <a:extLst>
              <a:ext uri="{FF2B5EF4-FFF2-40B4-BE49-F238E27FC236}">
                <a16:creationId xmlns:a16="http://schemas.microsoft.com/office/drawing/2014/main" id="{390AD8CB-CC7E-984F-9F6D-99A3A55A0A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pic>
        <p:nvPicPr>
          <p:cNvPr id="45" name="Picture 44" descr="McGraw Hill cube Logo">
            <a:extLst>
              <a:ext uri="{FF2B5EF4-FFF2-40B4-BE49-F238E27FC236}">
                <a16:creationId xmlns:a16="http://schemas.microsoft.com/office/drawing/2014/main" id="{69BF1FB9-C8BA-C141-BB8B-638E1DEEC63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65" name="Name &amp; Surname">
            <a:extLst>
              <a:ext uri="{FF2B5EF4-FFF2-40B4-BE49-F238E27FC236}">
                <a16:creationId xmlns:a16="http://schemas.microsoft.com/office/drawing/2014/main" id="{434E83B2-513B-D840-ACC2-97CDC476F00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6" name="Numeral Date">
            <a:extLst>
              <a:ext uri="{FF2B5EF4-FFF2-40B4-BE49-F238E27FC236}">
                <a16:creationId xmlns:a16="http://schemas.microsoft.com/office/drawing/2014/main" id="{FC4E2726-14C8-B14D-9721-7807227392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010DFA6-01F6-0757-3388-4125680AE6B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63543193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VIOLET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Four young people collaborate around a table. They use a laptop, textbook, smartphone, and sticky notes. Each has a relaxed, but intent, expression.&#10;">
            <a:extLst>
              <a:ext uri="{FF2B5EF4-FFF2-40B4-BE49-F238E27FC236}">
                <a16:creationId xmlns:a16="http://schemas.microsoft.com/office/drawing/2014/main" id="{7FC1136F-CA1A-304F-BD87-6F5AD28DF62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053" y="0"/>
            <a:ext cx="12232106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6001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73551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01193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50229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Grid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50080" y="493653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81889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53110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2F88899-822A-2BAC-C0BB-931CD16C32E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tx2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5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4669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Sta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948AF60-D99C-18A5-0A22-0D341CF07AE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36186" y="1330058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402896" y="2167341"/>
            <a:ext cx="3812636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</a:t>
            </a:r>
            <a:r>
              <a:rPr lang="en-US"/>
              <a:t>”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907614" y="4880620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8" name="Stat 1">
            <a:extLst>
              <a:ext uri="{FF2B5EF4-FFF2-40B4-BE49-F238E27FC236}">
                <a16:creationId xmlns:a16="http://schemas.microsoft.com/office/drawing/2014/main" id="{1B0A1B99-7DB4-1A20-DAE7-5BE0B597CAE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956706" y="1862334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9" name="Stat 1 Caption">
            <a:extLst>
              <a:ext uri="{FF2B5EF4-FFF2-40B4-BE49-F238E27FC236}">
                <a16:creationId xmlns:a16="http://schemas.microsoft.com/office/drawing/2014/main" id="{CE29B0C1-3A73-1BA6-E7F5-AD32949F2F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956706" y="2732927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0" name="Stat 1 Copy">
            <a:extLst>
              <a:ext uri="{FF2B5EF4-FFF2-40B4-BE49-F238E27FC236}">
                <a16:creationId xmlns:a16="http://schemas.microsoft.com/office/drawing/2014/main" id="{EE778FA4-D7DE-979F-EE1C-DA43999DFE3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70896" y="3174861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2" name="Stat 2">
            <a:extLst>
              <a:ext uri="{FF2B5EF4-FFF2-40B4-BE49-F238E27FC236}">
                <a16:creationId xmlns:a16="http://schemas.microsoft.com/office/drawing/2014/main" id="{77D3325E-E610-51E4-1007-242A109C0DC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4004" y="4183073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5" name="Stat 2 Caption">
            <a:extLst>
              <a:ext uri="{FF2B5EF4-FFF2-40B4-BE49-F238E27FC236}">
                <a16:creationId xmlns:a16="http://schemas.microsoft.com/office/drawing/2014/main" id="{4A9FA890-5152-F322-6283-64C8332438A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04004" y="5053666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6" name="Stat 2 Copy">
            <a:extLst>
              <a:ext uri="{FF2B5EF4-FFF2-40B4-BE49-F238E27FC236}">
                <a16:creationId xmlns:a16="http://schemas.microsoft.com/office/drawing/2014/main" id="{4D93E06C-C178-D1E9-836B-E412E5F033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5495600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consectetuer adipiscing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144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" name="Body Text">
            <a:extLst>
              <a:ext uri="{FF2B5EF4-FFF2-40B4-BE49-F238E27FC236}">
                <a16:creationId xmlns:a16="http://schemas.microsoft.com/office/drawing/2014/main" id="{F788FE61-2449-64AF-DCE2-15E103FAA20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Body Text">
            <a:extLst>
              <a:ext uri="{FF2B5EF4-FFF2-40B4-BE49-F238E27FC236}">
                <a16:creationId xmlns:a16="http://schemas.microsoft.com/office/drawing/2014/main" id="{43578A47-72BE-6C4B-C324-1DA3363963F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2BF8800D-1DE3-3FD3-069C-4F3BA01D21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2366123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A210F576-544A-CEAC-3E61-8A8D67FDB6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1DA6AA1F-7BBE-D1AD-AD1F-C4AFC62C941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329C2F1D-5554-DDC9-02AE-906934B59A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4085043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Individual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8BA3C0C5-F112-F484-ECD8-531C8D339AA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57047" y="2689855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0"/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DAE621AD-BA72-B1A5-3402-74C1B2E4DDB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957047" y="3172844"/>
            <a:ext cx="5307918" cy="8276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/>
            </a:lvl1pPr>
          </a:lstStyle>
          <a:p>
            <a:pPr lvl="0"/>
            <a:r>
              <a:rPr lang="en-US"/>
              <a:t>(Description of responsibilities)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CD6DDB3-128C-CADE-AE3E-921A19D835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57047" y="2094403"/>
            <a:ext cx="5422996" cy="748230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</p:spTree>
    <p:extLst>
      <p:ext uri="{BB962C8B-B14F-4D97-AF65-F5344CB8AC3E}">
        <p14:creationId xmlns:p14="http://schemas.microsoft.com/office/powerpoint/2010/main" val="38757408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D61460E-E17D-E260-CE2B-C6B62410A5E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8BD1FE0F-F97E-9803-78E1-A4D4F97861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424A5EE1-F1FD-B460-8956-BCE847515B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45B31E94-5DB4-9A14-F934-E25215461A5B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B26C7E3B-6F5C-CDE9-061A-297F5473CA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DA3A8863-2B69-0D33-13BA-80ACAFA112A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86B534F4-22A8-5E4C-F4FE-C95F8A9253C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6E297E9E-72E3-45CD-2CE0-8FCA6B335AD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B65CF966-233B-A64C-3964-34087DD3CDA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7D57079D-6FBC-F402-1F73-376DBC7B027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BFCC252E-79D1-9413-CBF9-D4A68D0C6D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74C85F6F-4418-EB83-5AD2-7D1A5B7EE65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00BA9D89-5898-926B-F580-BA00D0C4B1B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449D3811-7FC3-FCBB-3726-4DC59A57734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3" name="Body Text">
            <a:extLst>
              <a:ext uri="{FF2B5EF4-FFF2-40B4-BE49-F238E27FC236}">
                <a16:creationId xmlns:a16="http://schemas.microsoft.com/office/drawing/2014/main" id="{C28A47CA-3763-85C4-C933-D2F62FFB20A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EEB87789-6D9F-424E-F39B-F56F4ADBB156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19762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54440BB0-874B-1C48-9D14-D93811C53E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1" name="Name &amp; Surname">
            <a:extLst>
              <a:ext uri="{FF2B5EF4-FFF2-40B4-BE49-F238E27FC236}">
                <a16:creationId xmlns:a16="http://schemas.microsoft.com/office/drawing/2014/main" id="{D33C7042-0669-6148-9FAC-1EA8D47DBC3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1" name="Title 2">
            <a:extLst>
              <a:ext uri="{FF2B5EF4-FFF2-40B4-BE49-F238E27FC236}">
                <a16:creationId xmlns:a16="http://schemas.microsoft.com/office/drawing/2014/main" id="{0002E01B-5919-1E48-8DB8-F4682B5973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cube Logo">
            <a:extLst>
              <a:ext uri="{FF2B5EF4-FFF2-40B4-BE49-F238E27FC236}">
                <a16:creationId xmlns:a16="http://schemas.microsoft.com/office/drawing/2014/main" id="{6239E6B2-39D4-6948-B6F9-CFE0B3566DA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72895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F1087D9-F0F6-C895-0299-18BA5AE4D2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20161" y="1366153"/>
            <a:ext cx="2133800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44D98E4F-19CC-A1A6-7663-3089531D65C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A4B347B6-3A82-3AC2-864B-EB512C2D8F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6611997-54C5-6B87-858A-DFE22A9ECB47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EC5C3E68-D584-21B6-4B21-2A05B5C601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7FD4EBC2-5816-21BE-479D-5F82B75024E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554748D3-698C-84EA-2EF1-78272F130904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2667B3A-35FA-E008-FA32-0053746B30D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4A054557-76B5-2371-D87B-C19391139E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A1E5A92C-CDFC-572F-7F61-E98329CD4A2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7D21B69A-E35A-CBF5-C16D-8E3C2AA837A2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63D08A8D-E78B-1AA6-03A4-114E0B9C5EFB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7255E978-E783-9201-2D84-F6D7F963EDD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5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BCDED6F5-1D6A-02AC-F0DA-921B227BE20C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39F1054F-EFDC-6754-D8B8-C4715EAF71C7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07D3B733-CC4C-192E-4072-6E2332F22C9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7638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o Slide_Team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800097F-793A-A8DD-23CD-E85E56C9DF1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7" name="Footer Placeholder 5">
            <a:extLst>
              <a:ext uri="{FF2B5EF4-FFF2-40B4-BE49-F238E27FC236}">
                <a16:creationId xmlns:a16="http://schemas.microsoft.com/office/drawing/2014/main" id="{5497173D-CC38-B96D-A0F3-8EDEA9494E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75831230-61E5-66E5-16D8-2064453203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62789" y="1912448"/>
            <a:ext cx="5422996" cy="7482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30C9D29D-E415-8E19-7A25-8C59E4AA4B5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8245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C5754ACC-708A-22BA-D48B-CC49B2007A2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7140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0205775-38D4-FE35-EEA0-8C81EE93993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67251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FFA15769-525D-2C04-B873-5FC6C886028E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5633490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A11F21FA-6969-7AAE-37BA-8F52DADE0B5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5632382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7" name="Body Text">
            <a:extLst>
              <a:ext uri="{FF2B5EF4-FFF2-40B4-BE49-F238E27FC236}">
                <a16:creationId xmlns:a16="http://schemas.microsoft.com/office/drawing/2014/main" id="{B0ADFB59-55B1-71FD-A662-9E8571C0181A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5633490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F1BD6364-5BE9-4F02-B90E-2AD80283361D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7611038" y="2691290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6E9784CB-5420-4B46-2EB6-4875D69C461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7624194" y="4571437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19" name="Body Text">
            <a:extLst>
              <a:ext uri="{FF2B5EF4-FFF2-40B4-BE49-F238E27FC236}">
                <a16:creationId xmlns:a16="http://schemas.microsoft.com/office/drawing/2014/main" id="{95F38C3F-77E9-47F1-309B-982253573D9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7625302" y="5054427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394D9DC-5A74-F59A-923F-9126E094CB1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588586" y="2705949"/>
            <a:ext cx="1711168" cy="1707267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Body Text">
            <a:extLst>
              <a:ext uri="{FF2B5EF4-FFF2-40B4-BE49-F238E27FC236}">
                <a16:creationId xmlns:a16="http://schemas.microsoft.com/office/drawing/2014/main" id="{98C7A80D-3A82-7597-22B0-492161981A3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1800" y="4565616"/>
            <a:ext cx="1711169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Name)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6BC137E1-6F3A-6BF7-1FD5-B4B93BD05B4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9592908" y="5048606"/>
            <a:ext cx="1696904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(Title)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2F925196-A322-2E1A-3E6F-45D39B5C3BB3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61133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1A921E9-43B1-A64F-B9DA-CFC5BD83741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9" name="Picture 18" descr="McGraw Hill Logo">
            <a:extLst>
              <a:ext uri="{FF2B5EF4-FFF2-40B4-BE49-F238E27FC236}">
                <a16:creationId xmlns:a16="http://schemas.microsoft.com/office/drawing/2014/main" id="{AC15184A-376C-3847-A9F0-FFA9008CF0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4181" y="1452056"/>
            <a:ext cx="703182" cy="703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96656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05BB067E-F917-E8BD-9D12-40D966FC8BD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955242E1-DCE5-2EB8-B85C-B0537FD5A3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rgbClr val="E5E5E5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985509E-727A-DB39-85F7-3F93DAE3AC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7" name="Name">
            <a:extLst>
              <a:ext uri="{FF2B5EF4-FFF2-40B4-BE49-F238E27FC236}">
                <a16:creationId xmlns:a16="http://schemas.microsoft.com/office/drawing/2014/main" id="{B3932FF3-249E-EB90-D795-2F6A1349C64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8" name="Email">
            <a:extLst>
              <a:ext uri="{FF2B5EF4-FFF2-40B4-BE49-F238E27FC236}">
                <a16:creationId xmlns:a16="http://schemas.microsoft.com/office/drawing/2014/main" id="{BF70833C-2796-3AB6-9BDB-FA16B94E585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Phone">
            <a:extLst>
              <a:ext uri="{FF2B5EF4-FFF2-40B4-BE49-F238E27FC236}">
                <a16:creationId xmlns:a16="http://schemas.microsoft.com/office/drawing/2014/main" id="{BFF0DF67-2A6C-A225-F335-0B98168B1D2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Linkedin">
            <a:extLst>
              <a:ext uri="{FF2B5EF4-FFF2-40B4-BE49-F238E27FC236}">
                <a16:creationId xmlns:a16="http://schemas.microsoft.com/office/drawing/2014/main" id="{2D8D486A-9449-ED06-5819-BBBCDF3211D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17" name="Website">
            <a:extLst>
              <a:ext uri="{FF2B5EF4-FFF2-40B4-BE49-F238E27FC236}">
                <a16:creationId xmlns:a16="http://schemas.microsoft.com/office/drawing/2014/main" id="{4927CA2F-2EA3-213C-D292-F5B4AE66760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rgbClr val="E5E5E5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6EC1E8E5-D8DC-FDDF-BD53-917C9FAF80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765A5F66-5E25-B280-EB1F-6834BB89D6F8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5BCAE2CE-F803-94F4-321E-48A104EF871E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34880DFC-4EC1-8246-F7DC-1D4B2510253E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670E976F-0B73-8642-8D66-3192EE5E2971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0" name="Rectangle 29">
                <a:extLst>
                  <a:ext uri="{FF2B5EF4-FFF2-40B4-BE49-F238E27FC236}">
                    <a16:creationId xmlns:a16="http://schemas.microsoft.com/office/drawing/2014/main" id="{EB55618A-0F56-ABC2-6022-E7A09006C2A0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1" name="Rectangle 30">
                <a:extLst>
                  <a:ext uri="{FF2B5EF4-FFF2-40B4-BE49-F238E27FC236}">
                    <a16:creationId xmlns:a16="http://schemas.microsoft.com/office/drawing/2014/main" id="{455FB624-603C-81DE-1680-A1AC7F28B789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2" name="Rectangle 31">
                <a:extLst>
                  <a:ext uri="{FF2B5EF4-FFF2-40B4-BE49-F238E27FC236}">
                    <a16:creationId xmlns:a16="http://schemas.microsoft.com/office/drawing/2014/main" id="{9CADDAF0-1E2C-CAAD-D609-57143A2BE340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2E89F197-7220-6CA2-951C-442E614E7E7F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165604F5-5C2B-4F57-46AB-4FEA640C8A6B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33A3CB74-6A04-282E-E053-0112A8787B51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FF1ED3F-1A2C-7A34-0E50-882423C3575C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AEC21F6E-1B49-15C9-3067-6506810CF18E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21" name="Group 20">
                <a:extLst>
                  <a:ext uri="{FF2B5EF4-FFF2-40B4-BE49-F238E27FC236}">
                    <a16:creationId xmlns:a16="http://schemas.microsoft.com/office/drawing/2014/main" id="{A3FE3FBF-B9B5-3345-FB8A-5D679920FAA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25" name="Parallelogram 24">
                  <a:extLst>
                    <a:ext uri="{FF2B5EF4-FFF2-40B4-BE49-F238E27FC236}">
                      <a16:creationId xmlns:a16="http://schemas.microsoft.com/office/drawing/2014/main" id="{9E71666D-27CF-390C-D2B0-93CFD70E6A98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6" name="Parallelogram 25">
                  <a:extLst>
                    <a:ext uri="{FF2B5EF4-FFF2-40B4-BE49-F238E27FC236}">
                      <a16:creationId xmlns:a16="http://schemas.microsoft.com/office/drawing/2014/main" id="{E4FB9DA5-DA53-7DCF-98B0-A41937BCF88A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C47A0052-7CE6-B332-92D9-706143747E84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23" name="Parallelogram 61">
                  <a:extLst>
                    <a:ext uri="{FF2B5EF4-FFF2-40B4-BE49-F238E27FC236}">
                      <a16:creationId xmlns:a16="http://schemas.microsoft.com/office/drawing/2014/main" id="{0154C05D-843E-009C-BA23-5FF468F8D6EB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24" name="Parallelogram 61">
                  <a:extLst>
                    <a:ext uri="{FF2B5EF4-FFF2-40B4-BE49-F238E27FC236}">
                      <a16:creationId xmlns:a16="http://schemas.microsoft.com/office/drawing/2014/main" id="{0174978C-06F2-A759-62F0-4F7C4F794660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</p:spTree>
    <p:extLst>
      <p:ext uri="{BB962C8B-B14F-4D97-AF65-F5344CB8AC3E}">
        <p14:creationId xmlns:p14="http://schemas.microsoft.com/office/powerpoint/2010/main" val="1372543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EDE3686-DB2A-E63C-9903-A8244C6A11E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bg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C618A1B2-2685-2048-BFE2-B6555CC8C7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accent1"/>
          </a:solidFill>
          <a:ln w="9525">
            <a:solidFill>
              <a:srgbClr val="B7162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705B96A-8D3B-C44A-9078-413E003332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  <a:solidFill>
            <a:schemeClr val="accent4"/>
          </a:solidFill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  <a:solidFill>
            <a:schemeClr val="accent4"/>
          </a:solidFill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 descr="McGraw Hill red cube Logo">
            <a:extLst>
              <a:ext uri="{FF2B5EF4-FFF2-40B4-BE49-F238E27FC236}">
                <a16:creationId xmlns:a16="http://schemas.microsoft.com/office/drawing/2014/main" id="{F0D525F2-F9A7-7A73-4B30-ACE22BC64B8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155580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5" name="Rectangle 24">
            <a:extLst>
              <a:ext uri="{FF2B5EF4-FFF2-40B4-BE49-F238E27FC236}">
                <a16:creationId xmlns:a16="http://schemas.microsoft.com/office/drawing/2014/main" id="{CA2A2D41-DD4C-5142-BB67-1F26B8A758D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981524" y="1424430"/>
            <a:ext cx="1887685" cy="710471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8647846-01CE-514B-90CE-D4C484DE06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981524" y="1440999"/>
            <a:ext cx="1882745" cy="693902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Thank you!</a:t>
            </a:r>
          </a:p>
        </p:txBody>
      </p:sp>
      <p:sp>
        <p:nvSpPr>
          <p:cNvPr id="3" name="Name">
            <a:extLst>
              <a:ext uri="{FF2B5EF4-FFF2-40B4-BE49-F238E27FC236}">
                <a16:creationId xmlns:a16="http://schemas.microsoft.com/office/drawing/2014/main" id="{0B1A537D-ED77-CF4A-8ABC-E57EA11545D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730362" y="183217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1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First &amp; Last Name</a:t>
            </a:r>
          </a:p>
          <a:p>
            <a:pPr lvl="0"/>
            <a:endParaRPr lang="en-US"/>
          </a:p>
        </p:txBody>
      </p:sp>
      <p:sp>
        <p:nvSpPr>
          <p:cNvPr id="18" name="Email">
            <a:extLst>
              <a:ext uri="{FF2B5EF4-FFF2-40B4-BE49-F238E27FC236}">
                <a16:creationId xmlns:a16="http://schemas.microsoft.com/office/drawing/2014/main" id="{2BDDAEAE-2FFA-BA41-B1DF-A5AA99976F7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725447" y="2389710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rstname.lastname@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Phone">
            <a:extLst>
              <a:ext uri="{FF2B5EF4-FFF2-40B4-BE49-F238E27FC236}">
                <a16:creationId xmlns:a16="http://schemas.microsoft.com/office/drawing/2014/main" id="{C34696B5-18BC-0E40-B859-7FFE6DD074D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725446" y="2949647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-xxx-</a:t>
            </a: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Linkedin">
            <a:extLst>
              <a:ext uri="{FF2B5EF4-FFF2-40B4-BE49-F238E27FC236}">
                <a16:creationId xmlns:a16="http://schemas.microsoft.com/office/drawing/2014/main" id="{A68E2290-CD3F-A942-9166-4970768A3AB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25445" y="3515794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nkedIn / xxx (your profile; optional)</a:t>
            </a:r>
          </a:p>
        </p:txBody>
      </p:sp>
      <p:sp>
        <p:nvSpPr>
          <p:cNvPr id="23" name="Website">
            <a:extLst>
              <a:ext uri="{FF2B5EF4-FFF2-40B4-BE49-F238E27FC236}">
                <a16:creationId xmlns:a16="http://schemas.microsoft.com/office/drawing/2014/main" id="{5CB2CB3A-1A4A-3E4A-B674-0CCEFE60282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25444" y="4083552"/>
            <a:ext cx="4321429" cy="26828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100">
                <a:solidFill>
                  <a:schemeClr val="tx1"/>
                </a:solidFill>
              </a:defRPr>
            </a:lvl1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1100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mheducation.com</a:t>
            </a:r>
            <a:endParaRPr lang="en-US" sz="1100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6" name="Picture 15" descr="McGraw Hill red cube Logo">
            <a:extLst>
              <a:ext uri="{FF2B5EF4-FFF2-40B4-BE49-F238E27FC236}">
                <a16:creationId xmlns:a16="http://schemas.microsoft.com/office/drawing/2014/main" id="{B4836203-0CB8-F644-8793-692AE7EC3A5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1987" y="1433834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788556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6225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userDrawn="1">
          <p15:clr>
            <a:srgbClr val="FBAE40"/>
          </p15:clr>
        </p15:guide>
        <p15:guide id="7" pos="483" userDrawn="1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F66A961-BB2B-B54F-BFAB-BDA9367AED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32427A80-5FB3-1A49-8DC5-A073AD2F5B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619BD590-2BD8-1345-96AC-71997DB3DC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4" name="Body Text">
            <a:extLst>
              <a:ext uri="{FF2B5EF4-FFF2-40B4-BE49-F238E27FC236}">
                <a16:creationId xmlns:a16="http://schemas.microsoft.com/office/drawing/2014/main" id="{304C3CA5-856F-2F4D-9D50-08DD3F11F8B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1" name="Column 1">
            <a:extLst>
              <a:ext uri="{FF2B5EF4-FFF2-40B4-BE49-F238E27FC236}">
                <a16:creationId xmlns:a16="http://schemas.microsoft.com/office/drawing/2014/main" id="{09D023D1-AA6B-9646-A78E-0089EAAEBF9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Column 2">
            <a:extLst>
              <a:ext uri="{FF2B5EF4-FFF2-40B4-BE49-F238E27FC236}">
                <a16:creationId xmlns:a16="http://schemas.microsoft.com/office/drawing/2014/main" id="{A028DF26-A643-9E46-88A5-7D66AB1A21F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0BC10B7E-FB9A-3449-BA9D-B470A0390DF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35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24" userDrawn="1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2 – Text Heavy / Portrai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7077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Portrait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2833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7251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78965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6901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 – Text Heavy / Grid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750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L. H.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18567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 – Text Heavy / Arrow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4070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 userDrawn="1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14959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Pie Chart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6648C4D-D816-204A-B723-761FDB2941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53281EAB-F476-BB40-9FAD-E65D90D2C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7390110-5AD8-874C-AE1F-E0FB2ECFB94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C5A7534-3DAA-9741-9B2A-18B0C4851A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12A4A311-C970-5B47-B8B4-279475D8343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2064520"/>
            <a:ext cx="4222331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94A1DD1E-0FD4-334D-AC0E-B10F7CCB6E2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02595" y="2898212"/>
            <a:ext cx="4603750" cy="345146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.</a:t>
            </a:r>
          </a:p>
          <a:p>
            <a:pPr lvl="0"/>
            <a:r>
              <a:rPr lang="en-US" err="1"/>
              <a:t>Elitsed</a:t>
            </a:r>
            <a:r>
              <a:rPr lang="en-US"/>
              <a:t> diam </a:t>
            </a:r>
            <a:r>
              <a:rPr lang="en-US" err="1"/>
              <a:t>nonumm</a:t>
            </a:r>
            <a:r>
              <a:rPr lang="en-US"/>
              <a:t> </a:t>
            </a:r>
            <a:r>
              <a:rPr lang="en-US" err="1"/>
              <a:t>y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</a:t>
            </a:r>
            <a:r>
              <a:rPr lang="en-US"/>
              <a:t> </a:t>
            </a:r>
            <a:r>
              <a:rPr lang="en-US" err="1"/>
              <a:t>ter</a:t>
            </a:r>
            <a:r>
              <a:rPr lang="en-US"/>
              <a:t> pa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</a:t>
            </a:r>
            <a:r>
              <a:rPr lang="en-US"/>
              <a:t> </a:t>
            </a:r>
            <a:r>
              <a:rPr lang="en-US" err="1"/>
              <a:t>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7301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152" userDrawn="1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Lin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0979F1B-0C1D-4D46-9688-E70042C91F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B60AC181-A0E8-C848-B86F-709FE51408B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C5E5542-63AF-264A-9B02-20F2AE5C86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3" y="1042826"/>
            <a:ext cx="4290529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</p:spTree>
    <p:extLst>
      <p:ext uri="{BB962C8B-B14F-4D97-AF65-F5344CB8AC3E}">
        <p14:creationId xmlns:p14="http://schemas.microsoft.com/office/powerpoint/2010/main" val="18804494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F873E0C-0627-D042-9703-1082CC31C9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442212F1-2279-1344-BAF9-2D55C3372D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2EAAC9DE-6713-2148-84D1-A07827E478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Subtitle 1">
            <a:extLst>
              <a:ext uri="{FF2B5EF4-FFF2-40B4-BE49-F238E27FC236}">
                <a16:creationId xmlns:a16="http://schemas.microsoft.com/office/drawing/2014/main" id="{8AE632E4-8081-4C4C-93AA-8BA65412F71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2522" y="3249621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9" name="Column 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7994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0" name="Subtitle 2">
            <a:extLst>
              <a:ext uri="{FF2B5EF4-FFF2-40B4-BE49-F238E27FC236}">
                <a16:creationId xmlns:a16="http://schemas.microsoft.com/office/drawing/2014/main" id="{736B6D3D-9619-D84B-95A2-F3E1C1AC6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397417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1" name="Column 2">
            <a:extLst>
              <a:ext uri="{FF2B5EF4-FFF2-40B4-BE49-F238E27FC236}">
                <a16:creationId xmlns:a16="http://schemas.microsoft.com/office/drawing/2014/main" id="{33CFB3D8-4385-F845-A13A-64C1CF86398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432889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4" name="Subtitle 3">
            <a:extLst>
              <a:ext uri="{FF2B5EF4-FFF2-40B4-BE49-F238E27FC236}">
                <a16:creationId xmlns:a16="http://schemas.microsoft.com/office/drawing/2014/main" id="{BE099D4A-DC27-5241-986A-5206F128171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87928" y="3237763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5" name="Column 3">
            <a:extLst>
              <a:ext uri="{FF2B5EF4-FFF2-40B4-BE49-F238E27FC236}">
                <a16:creationId xmlns:a16="http://schemas.microsoft.com/office/drawing/2014/main" id="{3FB1514F-7252-9A47-9F31-9DF3A0FDA31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123400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56" name="Subtitle 4">
            <a:extLst>
              <a:ext uri="{FF2B5EF4-FFF2-40B4-BE49-F238E27FC236}">
                <a16:creationId xmlns:a16="http://schemas.microsoft.com/office/drawing/2014/main" id="{36EF0826-D37B-ED42-A4D1-0E9D953AC1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778439" y="3237429"/>
            <a:ext cx="2357509" cy="29373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57" name="Column 4">
            <a:extLst>
              <a:ext uri="{FF2B5EF4-FFF2-40B4-BE49-F238E27FC236}">
                <a16:creationId xmlns:a16="http://schemas.microsoft.com/office/drawing/2014/main" id="{CB5A08EF-59FA-A34E-A79B-E69C2515DB8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813911" y="3797804"/>
            <a:ext cx="2458491" cy="268093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3817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Double Snake Diagram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010714B-F67D-BB4E-BD72-F5575995A6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355C42A9-CCA2-A241-8EFB-F2646A8476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98F93229-4B98-4D48-95A2-B2901D647C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49" name="1">
            <a:extLst>
              <a:ext uri="{FF2B5EF4-FFF2-40B4-BE49-F238E27FC236}">
                <a16:creationId xmlns:a16="http://schemas.microsoft.com/office/drawing/2014/main" id="{F485FDB3-B021-C94D-B1BF-23D048DEBF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94462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6" name="2">
            <a:extLst>
              <a:ext uri="{FF2B5EF4-FFF2-40B4-BE49-F238E27FC236}">
                <a16:creationId xmlns:a16="http://schemas.microsoft.com/office/drawing/2014/main" id="{D17D20DF-7F50-7847-AA55-BE4484E3669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2219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7" name="3">
            <a:extLst>
              <a:ext uri="{FF2B5EF4-FFF2-40B4-BE49-F238E27FC236}">
                <a16:creationId xmlns:a16="http://schemas.microsoft.com/office/drawing/2014/main" id="{FEED5375-BE04-DD48-860C-ADC9A4187CE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5789976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8" name="4">
            <a:extLst>
              <a:ext uri="{FF2B5EF4-FFF2-40B4-BE49-F238E27FC236}">
                <a16:creationId xmlns:a16="http://schemas.microsoft.com/office/drawing/2014/main" id="{D3C9ED7B-28DB-214B-B183-0B2D936B682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337733" y="3222790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39" name="5">
            <a:extLst>
              <a:ext uri="{FF2B5EF4-FFF2-40B4-BE49-F238E27FC236}">
                <a16:creationId xmlns:a16="http://schemas.microsoft.com/office/drawing/2014/main" id="{836F4DC2-D0EF-D54B-863B-E592B01A8A96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94462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0" name="6">
            <a:extLst>
              <a:ext uri="{FF2B5EF4-FFF2-40B4-BE49-F238E27FC236}">
                <a16:creationId xmlns:a16="http://schemas.microsoft.com/office/drawing/2014/main" id="{AF98966C-9920-C44A-A83D-2612A077A86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42219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1" name="7">
            <a:extLst>
              <a:ext uri="{FF2B5EF4-FFF2-40B4-BE49-F238E27FC236}">
                <a16:creationId xmlns:a16="http://schemas.microsoft.com/office/drawing/2014/main" id="{D1984EE8-D54B-A744-A37B-DEBCFC6007ED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789976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42" name="8">
            <a:extLst>
              <a:ext uri="{FF2B5EF4-FFF2-40B4-BE49-F238E27FC236}">
                <a16:creationId xmlns:a16="http://schemas.microsoft.com/office/drawing/2014/main" id="{7B40AD15-439C-BA4F-9047-4B8A86FDFB7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37733" y="5346592"/>
            <a:ext cx="2458491" cy="1400010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alo</a:t>
            </a:r>
            <a:br>
              <a:rPr lang="en-US"/>
            </a:br>
            <a:r>
              <a:rPr lang="en-US"/>
              <a:t>dolore </a:t>
            </a:r>
            <a:r>
              <a:rPr lang="en-US" err="1"/>
              <a:t>tern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0911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Display Date">
            <a:extLst>
              <a:ext uri="{FF2B5EF4-FFF2-40B4-BE49-F238E27FC236}">
                <a16:creationId xmlns:a16="http://schemas.microsoft.com/office/drawing/2014/main" id="{21B27012-3D0D-FB4F-BBD6-DB9D89F837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2" name="Name &amp; Surname">
            <a:extLst>
              <a:ext uri="{FF2B5EF4-FFF2-40B4-BE49-F238E27FC236}">
                <a16:creationId xmlns:a16="http://schemas.microsoft.com/office/drawing/2014/main" id="{F4DD2720-7DE1-9C4E-8E6F-F5ED11239F3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5150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 - Graph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87E5B97-5140-1342-B6ED-D224671367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D17B5A40-4A38-5248-B89D-84C868D1FA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Pg">
            <a:extLst>
              <a:ext uri="{FF2B5EF4-FFF2-40B4-BE49-F238E27FC236}">
                <a16:creationId xmlns:a16="http://schemas.microsoft.com/office/drawing/2014/main" id="{A41195C8-73CD-0C40-992D-0CA71CE3F51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F0F2683A-ECA5-9C4E-BF91-067F9FA63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168329"/>
            <a:ext cx="431137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6" name="1">
            <a:extLst>
              <a:ext uri="{FF2B5EF4-FFF2-40B4-BE49-F238E27FC236}">
                <a16:creationId xmlns:a16="http://schemas.microsoft.com/office/drawing/2014/main" id="{6877937D-3DA9-CD4C-8F73-B4C57F6B89D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332054" y="24828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0" name="1 Copy">
            <a:extLst>
              <a:ext uri="{FF2B5EF4-FFF2-40B4-BE49-F238E27FC236}">
                <a16:creationId xmlns:a16="http://schemas.microsoft.com/office/drawing/2014/main" id="{45956B13-ADB8-FB42-9D61-0934942431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968641" y="244089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4" name="2">
            <a:extLst>
              <a:ext uri="{FF2B5EF4-FFF2-40B4-BE49-F238E27FC236}">
                <a16:creationId xmlns:a16="http://schemas.microsoft.com/office/drawing/2014/main" id="{BEE0936E-7081-7D41-B93D-0E5933D3FD9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349830" y="307515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1" name="2 Copy">
            <a:extLst>
              <a:ext uri="{FF2B5EF4-FFF2-40B4-BE49-F238E27FC236}">
                <a16:creationId xmlns:a16="http://schemas.microsoft.com/office/drawing/2014/main" id="{DBCBFBE9-4518-D945-963C-3573703678A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968641" y="3038674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3">
            <a:extLst>
              <a:ext uri="{FF2B5EF4-FFF2-40B4-BE49-F238E27FC236}">
                <a16:creationId xmlns:a16="http://schemas.microsoft.com/office/drawing/2014/main" id="{49567076-20B4-3642-8E2F-792E66F7EF14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0470" y="3660178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2" name="3 Copy">
            <a:extLst>
              <a:ext uri="{FF2B5EF4-FFF2-40B4-BE49-F238E27FC236}">
                <a16:creationId xmlns:a16="http://schemas.microsoft.com/office/drawing/2014/main" id="{689E5928-A1E4-6243-A711-E0A1F28C3DC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968641" y="3636458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6" name="4">
            <a:extLst>
              <a:ext uri="{FF2B5EF4-FFF2-40B4-BE49-F238E27FC236}">
                <a16:creationId xmlns:a16="http://schemas.microsoft.com/office/drawing/2014/main" id="{A286B0CE-7439-0843-88F7-DD73DB9034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60586" y="4281061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3" name="4 Copy">
            <a:extLst>
              <a:ext uri="{FF2B5EF4-FFF2-40B4-BE49-F238E27FC236}">
                <a16:creationId xmlns:a16="http://schemas.microsoft.com/office/drawing/2014/main" id="{0CC7A3C0-0C37-154F-9CC8-FF8A82DFE13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968641" y="4234242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7" name="5">
            <a:extLst>
              <a:ext uri="{FF2B5EF4-FFF2-40B4-BE49-F238E27FC236}">
                <a16:creationId xmlns:a16="http://schemas.microsoft.com/office/drawing/2014/main" id="{D35007DD-4D32-744C-9E0C-CC04D81DFFE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60586" y="486029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5" name="5 Copy">
            <a:extLst>
              <a:ext uri="{FF2B5EF4-FFF2-40B4-BE49-F238E27FC236}">
                <a16:creationId xmlns:a16="http://schemas.microsoft.com/office/drawing/2014/main" id="{DEE6D165-02D6-C142-9029-62B0DDA96A9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968641" y="4832026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8" name="6">
            <a:extLst>
              <a:ext uri="{FF2B5EF4-FFF2-40B4-BE49-F238E27FC236}">
                <a16:creationId xmlns:a16="http://schemas.microsoft.com/office/drawing/2014/main" id="{3F434AC7-9FE2-4945-B806-6357E326DAC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357312" y="5454659"/>
            <a:ext cx="636587" cy="46797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34" name="6 Copy">
            <a:extLst>
              <a:ext uri="{FF2B5EF4-FFF2-40B4-BE49-F238E27FC236}">
                <a16:creationId xmlns:a16="http://schemas.microsoft.com/office/drawing/2014/main" id="{CD847155-579D-9044-9614-337C9A88263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968641" y="5429810"/>
            <a:ext cx="2487856" cy="45856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1209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 – Table Char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2671B7B-445E-B64B-8114-C3FF49315F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6" name="Chapter Title">
            <a:extLst>
              <a:ext uri="{FF2B5EF4-FFF2-40B4-BE49-F238E27FC236}">
                <a16:creationId xmlns:a16="http://schemas.microsoft.com/office/drawing/2014/main" id="{4F973414-A48D-024D-8D5D-555A01E509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404CC2A3-2ED5-DB4A-A828-ED53650C053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8B25ADB5-7546-5143-B79B-78DCA81BF1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842681"/>
            <a:ext cx="10752234" cy="748230"/>
          </a:xfrm>
        </p:spPr>
        <p:txBody>
          <a:bodyPr anchor="b"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7" name="Subtitle">
            <a:extLst>
              <a:ext uri="{FF2B5EF4-FFF2-40B4-BE49-F238E27FC236}">
                <a16:creationId xmlns:a16="http://schemas.microsoft.com/office/drawing/2014/main" id="{3381096E-0A87-A446-B08F-AFD6FBB17D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6552" y="1648610"/>
            <a:ext cx="10752236" cy="34348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Chart Heading Title Case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0152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3519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19124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771299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6131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D458F59-CF19-9D49-C2AB-3C48D4C1962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74AB1EBE-4491-4616-D7DF-4C6FCC615E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52310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C595D9C4-58B3-A9CC-9598-24F869DC76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13187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DA98AFB-5A8C-10F9-72B8-8992D01A85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1964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DA98AFB-5A8C-10F9-72B8-8992D01A85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9841" y="1825625"/>
            <a:ext cx="11315911" cy="4351338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Magazine Grotesque" pitchFamily="2" charset="77"/>
              </a:defRPr>
            </a:lvl1pPr>
            <a:lvl2pPr>
              <a:defRPr b="0" i="0">
                <a:latin typeface="Magazine Grotesque" pitchFamily="2" charset="77"/>
              </a:defRPr>
            </a:lvl2pPr>
            <a:lvl3pPr>
              <a:defRPr b="0" i="0">
                <a:latin typeface="Magazine Grotesque" pitchFamily="2" charset="77"/>
              </a:defRPr>
            </a:lvl3pPr>
            <a:lvl4pPr>
              <a:defRPr b="0" i="0">
                <a:latin typeface="Magazine Grotesque" pitchFamily="2" charset="77"/>
              </a:defRPr>
            </a:lvl4pPr>
            <a:lvl5pPr>
              <a:defRPr b="0" i="0"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9CE5718B-CC91-F24E-BB58-FE030026AF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9842" y="315430"/>
            <a:ext cx="11315910" cy="1325563"/>
          </a:xfrm>
        </p:spPr>
        <p:txBody>
          <a:bodyPr vert="horz">
            <a:normAutofit/>
          </a:bodyPr>
          <a:lstStyle>
            <a:lvl1pPr>
              <a:defRPr sz="2800" b="1" i="0">
                <a:latin typeface="Magazine Grotesque Bold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691990FE-98EC-83F9-AA3B-D6E75AAB59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3A5243D-3F4D-5BC4-1C23-56B131C1D11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>
            <a:extLst>
              <a:ext uri="{FF2B5EF4-FFF2-40B4-BE49-F238E27FC236}">
                <a16:creationId xmlns:a16="http://schemas.microsoft.com/office/drawing/2014/main" id="{F4EDB59E-3599-C6C4-D2A0-319F7AB9DB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7121C30A-2478-DD68-AA01-B696BF05B44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097088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EECD8F3-B47A-55F4-BAEE-B560FF3716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6973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2" imgH="272" progId="TCLayout.ActiveDocument.1">
                  <p:embed/>
                </p:oleObj>
              </mc:Choice>
              <mc:Fallback>
                <p:oleObj name="think-cell Slide" r:id="rId3" imgW="272" imgH="272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EECD8F3-B47A-55F4-BAEE-B560FF3716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583142"/>
          </a:xfrm>
        </p:spPr>
        <p:txBody>
          <a:bodyPr vert="horz">
            <a:normAutofit/>
          </a:bodyPr>
          <a:lstStyle>
            <a:lvl1pPr>
              <a:defRPr sz="2800">
                <a:latin typeface="Magazine Grotesque" pitchFamily="2" charset="77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2285" y="1018117"/>
            <a:ext cx="11313466" cy="5158846"/>
          </a:xfrm>
          <a:prstGeom prst="rect">
            <a:avLst/>
          </a:prstGeom>
        </p:spPr>
        <p:txBody>
          <a:bodyPr/>
          <a:lstStyle>
            <a:lvl1pPr>
              <a:defRPr>
                <a:latin typeface="Magazine Grotesque" pitchFamily="2" charset="77"/>
              </a:defRPr>
            </a:lvl1pPr>
            <a:lvl2pPr>
              <a:defRPr>
                <a:latin typeface="Magazine Grotesque" pitchFamily="2" charset="77"/>
              </a:defRPr>
            </a:lvl2pPr>
            <a:lvl3pPr>
              <a:defRPr>
                <a:latin typeface="Magazine Grotesque" pitchFamily="2" charset="77"/>
              </a:defRPr>
            </a:lvl3pPr>
            <a:lvl4pPr>
              <a:defRPr>
                <a:latin typeface="Magazine Grotesque" pitchFamily="2" charset="77"/>
              </a:defRPr>
            </a:lvl4pPr>
            <a:lvl5pPr>
              <a:defRPr>
                <a:latin typeface="Magazine Grotesque" pitchFamily="2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7BC29FB-1888-7644-9A68-E10411877A79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201A529-5C10-4027-8858-CB3A56EEF3E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200D9094-B4FD-4E32-FF5C-1A9521CAD85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845EB33-BC40-B541-2DE3-635AE372BC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176740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A2D4F08D-BE1E-443D-8782-37662CDDF2B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899AE9EF-61EB-ACFA-4820-EBD3F6BBD83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E05E0AA-A4C4-9006-5021-1A09E19FCA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94058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Display Date">
            <a:extLst>
              <a:ext uri="{FF2B5EF4-FFF2-40B4-BE49-F238E27FC236}">
                <a16:creationId xmlns:a16="http://schemas.microsoft.com/office/drawing/2014/main" id="{EAD50B81-779F-8B92-2873-78302959C0B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685360" y="4867058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6" name="Name &amp; Surname">
            <a:extLst>
              <a:ext uri="{FF2B5EF4-FFF2-40B4-BE49-F238E27FC236}">
                <a16:creationId xmlns:a16="http://schemas.microsoft.com/office/drawing/2014/main" id="{B78998DC-34A4-E505-E5B2-065B7AD50D9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685360" y="4476825"/>
            <a:ext cx="6739878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21270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ide Basic Content, 1-Line Headlin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EC2ECA2C-6A4B-843C-DB4F-601C52819D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361875D-2FEA-BE95-9218-81D842E52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8220471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Red">
    <p:bg>
      <p:bgPr>
        <a:solidFill>
          <a:srgbClr val="D0232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Group 11">
            <a:extLst>
              <a:ext uri="{FF2B5EF4-FFF2-40B4-BE49-F238E27FC236}">
                <a16:creationId xmlns:a16="http://schemas.microsoft.com/office/drawing/2014/main" id="{FE2B1DE6-88E8-5940-A140-CEFB25E44F8E}"/>
              </a:ext>
            </a:extLst>
          </p:cNvPr>
          <p:cNvGrpSpPr/>
          <p:nvPr userDrawn="1"/>
        </p:nvGrpSpPr>
        <p:grpSpPr>
          <a:xfrm>
            <a:off x="4881651" y="1981444"/>
            <a:ext cx="1448597" cy="1447556"/>
            <a:chOff x="6811876" y="1647187"/>
            <a:chExt cx="1448597" cy="1447556"/>
          </a:xfrm>
          <a:solidFill>
            <a:srgbClr val="CF2330"/>
          </a:solidFill>
        </p:grpSpPr>
        <p:sp>
          <p:nvSpPr>
            <p:cNvPr id="14" name="Rounded Rectangle 13">
              <a:extLst>
                <a:ext uri="{FF2B5EF4-FFF2-40B4-BE49-F238E27FC236}">
                  <a16:creationId xmlns:a16="http://schemas.microsoft.com/office/drawing/2014/main" id="{5721BDD7-D6BA-9649-A6F4-0BD415AF2BBF}"/>
                </a:ext>
              </a:extLst>
            </p:cNvPr>
            <p:cNvSpPr/>
            <p:nvPr/>
          </p:nvSpPr>
          <p:spPr>
            <a:xfrm>
              <a:off x="6811876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ounded Rectangle 14">
              <a:extLst>
                <a:ext uri="{FF2B5EF4-FFF2-40B4-BE49-F238E27FC236}">
                  <a16:creationId xmlns:a16="http://schemas.microsoft.com/office/drawing/2014/main" id="{5FD3D976-7A1B-2F46-AA9C-FA3A12C5BBFB}"/>
                </a:ext>
              </a:extLst>
            </p:cNvPr>
            <p:cNvSpPr/>
            <p:nvPr/>
          </p:nvSpPr>
          <p:spPr>
            <a:xfrm>
              <a:off x="7359631" y="164718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ounded Rectangle 15">
              <a:extLst>
                <a:ext uri="{FF2B5EF4-FFF2-40B4-BE49-F238E27FC236}">
                  <a16:creationId xmlns:a16="http://schemas.microsoft.com/office/drawing/2014/main" id="{ABBAC0A5-63D6-614C-8289-4285E5C9A790}"/>
                </a:ext>
              </a:extLst>
            </p:cNvPr>
            <p:cNvSpPr/>
            <p:nvPr/>
          </p:nvSpPr>
          <p:spPr>
            <a:xfrm>
              <a:off x="6811876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ounded Rectangle 16">
              <a:extLst>
                <a:ext uri="{FF2B5EF4-FFF2-40B4-BE49-F238E27FC236}">
                  <a16:creationId xmlns:a16="http://schemas.microsoft.com/office/drawing/2014/main" id="{9A6C329C-9F49-674D-BE6B-CD803B5FD671}"/>
                </a:ext>
              </a:extLst>
            </p:cNvPr>
            <p:cNvSpPr/>
            <p:nvPr/>
          </p:nvSpPr>
          <p:spPr>
            <a:xfrm>
              <a:off x="7359631" y="2274457"/>
              <a:ext cx="900842" cy="820286"/>
            </a:xfrm>
            <a:prstGeom prst="round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73AA23DE-9635-6412-5B6C-4805B44D614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2DE06899-4B4E-2102-66E0-D77B3B40FD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2C58259-AE6E-64AC-051F-5732D61AEEF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2">
            <a:extLst>
              <a:ext uri="{FF2B5EF4-FFF2-40B4-BE49-F238E27FC236}">
                <a16:creationId xmlns:a16="http://schemas.microsoft.com/office/drawing/2014/main" id="{B52EF902-D983-5F8B-3016-8434C60F7CA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09AE8B7C-8817-1AB6-CFA8-C9FB6B45D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48284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-Pink">
    <p:bg>
      <p:bgPr>
        <a:solidFill>
          <a:srgbClr val="F57E6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14F9CC8-40EA-727F-B4C5-375BA4128C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2A986FFF-E5EB-6060-A806-31D3A192911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6241993-9B36-94BA-B100-31BD0F97012C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CAE09AD-9EF3-5145-CBD6-0B075575190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4CA38BE7-9D59-AE99-EAFE-3C7A12321ED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45609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School Bus">
    <p:bg>
      <p:bgPr>
        <a:solidFill>
          <a:srgbClr val="F7A35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993E68-347E-3FDE-ED81-6B1A358C1F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2ACC53-AFB8-B50A-5774-291260F45AF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78D9F8B-A123-0ABF-BF76-DDAED5EB9697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27B8CB88-27E5-0001-71B8-27C9E8157CC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77752FC-31AC-31FD-3BC7-B921363C30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54031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Pink">
    <p:bg>
      <p:bgPr>
        <a:solidFill>
          <a:srgbClr val="F8B5B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579E66-55D7-8DB0-F033-35722CC012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EB8F7CF-6101-40E5-0A6D-9349817F165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CB403343-90AC-F034-0A23-0078D1BAC4B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3423447F-FBF7-09FD-F74B-F45BAEA269B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0074FC0B-E844-EC17-677B-0D8820D63A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67548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New Pink">
    <p:bg>
      <p:bgPr>
        <a:solidFill>
          <a:srgbClr val="FAD2D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8EFA60-78F3-8B23-C7C7-E4845471E9E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703B7DF-5404-9872-A5D2-95007F07D39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52F7702-2618-9B92-15C3-05C9A7A9CE5A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667FDE22-E217-2D1E-77F6-5690AABB8CC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1A10CBB-8EAE-F407-6C3C-B83304AE54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533731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Lt. Grey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95DEF1-A907-F258-BE12-C59E95BBB7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E51DA41C-D0B1-AD27-F710-DDAE323E200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64157273-9671-116E-15A9-34D8FB1836D3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7547D791-D560-6AF4-BA19-3F7D8CDF97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657A61D-7CAB-5542-B874-288252F399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798859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-Whi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9900189-5AA2-7FD6-A83C-74854134787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2A94F57-B22C-FA69-3F5A-1800DAF8670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9600" y="2861670"/>
            <a:ext cx="7277100" cy="867930"/>
          </a:xfrm>
          <a:prstGeom prst="rect">
            <a:avLst/>
          </a:prstGeom>
        </p:spPr>
        <p:txBody>
          <a:bodyPr wrap="square" lIns="0" tIns="91440" rIns="0" bIns="91440">
            <a:spAutoFit/>
          </a:bodyPr>
          <a:lstStyle>
            <a:lvl1pPr marL="0" indent="0">
              <a:buNone/>
              <a:defRPr sz="4800" b="0" i="0">
                <a:solidFill>
                  <a:schemeClr val="tx1">
                    <a:lumMod val="95000"/>
                    <a:lumOff val="5000"/>
                  </a:schemeClr>
                </a:solidFill>
                <a:latin typeface="Magazine Grotesque" pitchFamily="2" charset="77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1.0 Title Her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024C75A6-0676-0707-2DA0-9F4F2B6E0D42}"/>
              </a:ext>
            </a:extLst>
          </p:cNvPr>
          <p:cNvCxnSpPr>
            <a:cxnSpLocks/>
          </p:cNvCxnSpPr>
          <p:nvPr userDrawn="1"/>
        </p:nvCxnSpPr>
        <p:spPr>
          <a:xfrm>
            <a:off x="426249" y="6286500"/>
            <a:ext cx="11339503" cy="0"/>
          </a:xfrm>
          <a:prstGeom prst="line">
            <a:avLst/>
          </a:prstGeom>
          <a:ln w="12700">
            <a:solidFill>
              <a:srgbClr val="31393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>
            <a:extLst>
              <a:ext uri="{FF2B5EF4-FFF2-40B4-BE49-F238E27FC236}">
                <a16:creationId xmlns:a16="http://schemas.microsoft.com/office/drawing/2014/main" id="{02B3A761-F93E-768E-678B-6A2853A798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link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25288" y="6351371"/>
            <a:ext cx="563007" cy="1415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0B2227A-AB96-E66D-6959-34F64E1FB2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fld id="{330EA680-D336-4FF7-8B7A-9848BB0A1C3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956080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808358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DA1175B-4997-AD46-A66F-AD54249B30D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AE7ED1B1-2133-504B-8BC5-FCD9399E99F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59F5F042-B335-3A4E-8342-1F0AFC60A39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4C621B4-9BA6-FE43-9C64-9788F9AAAA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0" name="Picture 9" descr="McGraw Hill cube Logo">
            <a:extLst>
              <a:ext uri="{FF2B5EF4-FFF2-40B4-BE49-F238E27FC236}">
                <a16:creationId xmlns:a16="http://schemas.microsoft.com/office/drawing/2014/main" id="{DA944CFB-F2AB-1F4B-A4C9-0C1C0870C60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7450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F5E0D79D-6B62-1B4E-A21C-A07AA43102B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40907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VIOLE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ECD4933-6BE6-E603-C835-4A8D8C73725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D7D5D4D7-984C-A14F-BEE6-F25C9505432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982DDFA-3902-F940-8095-D232FCB14CD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1724F994-0193-0545-A506-58996A8A542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3" name="Picture 12" descr="McGraw Hill red cube Logo">
            <a:extLst>
              <a:ext uri="{FF2B5EF4-FFF2-40B4-BE49-F238E27FC236}">
                <a16:creationId xmlns:a16="http://schemas.microsoft.com/office/drawing/2014/main" id="{70A3D634-4B29-4F4F-8DA3-FC1D408777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12812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Grid Only_No Details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D3E3721-D71C-242D-9FAB-F7484EE46E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8431" y="1915042"/>
            <a:ext cx="8093569" cy="372787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ubtitle">
            <a:extLst>
              <a:ext uri="{FF2B5EF4-FFF2-40B4-BE49-F238E27FC236}">
                <a16:creationId xmlns:a16="http://schemas.microsoft.com/office/drawing/2014/main" id="{EF39B048-D0F7-FC99-C35F-01B454D9076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685360" y="3522419"/>
            <a:ext cx="3694112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9C0D03-7FFE-8DD0-BA3B-5C5C71E1F4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11954" y="2435708"/>
            <a:ext cx="6837047" cy="97553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78582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754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BLU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6792C61-A2E3-D441-8137-CB45AFE0828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DE6919F8-F58F-2A4A-98F5-FDE984CD975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017" y="498906"/>
            <a:ext cx="12183602" cy="5878123"/>
            <a:chOff x="-1017" y="498906"/>
            <a:chExt cx="12183602" cy="5878123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E84A42B3-C875-7246-A333-E68DA98D95DB}"/>
                </a:ext>
              </a:extLst>
            </p:cNvPr>
            <p:cNvGrpSpPr/>
            <p:nvPr userDrawn="1"/>
          </p:nvGrpSpPr>
          <p:grpSpPr>
            <a:xfrm>
              <a:off x="-1017" y="1611038"/>
              <a:ext cx="12183602" cy="4765991"/>
              <a:chOff x="-1017" y="1611038"/>
              <a:chExt cx="12183602" cy="4765991"/>
            </a:xfrm>
          </p:grpSpPr>
          <p:sp>
            <p:nvSpPr>
              <p:cNvPr id="88" name="Rectangle 87">
                <a:extLst>
                  <a:ext uri="{FF2B5EF4-FFF2-40B4-BE49-F238E27FC236}">
                    <a16:creationId xmlns:a16="http://schemas.microsoft.com/office/drawing/2014/main" id="{472291B4-31A1-FC4C-9218-CC71C5ECF3DC}"/>
                  </a:ext>
                </a:extLst>
              </p:cNvPr>
              <p:cNvSpPr/>
              <p:nvPr/>
            </p:nvSpPr>
            <p:spPr>
              <a:xfrm rot="16200000">
                <a:off x="8777293" y="3412639"/>
                <a:ext cx="156191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9" name="Rectangle 88">
                <a:extLst>
                  <a:ext uri="{FF2B5EF4-FFF2-40B4-BE49-F238E27FC236}">
                    <a16:creationId xmlns:a16="http://schemas.microsoft.com/office/drawing/2014/main" id="{E9130DD8-37F0-BF47-8443-E9DE9187AB2F}"/>
                  </a:ext>
                </a:extLst>
              </p:cNvPr>
              <p:cNvSpPr/>
              <p:nvPr userDrawn="1"/>
            </p:nvSpPr>
            <p:spPr>
              <a:xfrm rot="16200000">
                <a:off x="8952361" y="3354283"/>
                <a:ext cx="1445206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1" name="Rectangle 90">
                <a:extLst>
                  <a:ext uri="{FF2B5EF4-FFF2-40B4-BE49-F238E27FC236}">
                    <a16:creationId xmlns:a16="http://schemas.microsoft.com/office/drawing/2014/main" id="{0CD89C06-927B-1048-857D-F555B58E9E09}"/>
                  </a:ext>
                </a:extLst>
              </p:cNvPr>
              <p:cNvSpPr/>
              <p:nvPr/>
            </p:nvSpPr>
            <p:spPr>
              <a:xfrm rot="18900000">
                <a:off x="9095325" y="1611038"/>
                <a:ext cx="301327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92" name="Rectangle 91">
                <a:extLst>
                  <a:ext uri="{FF2B5EF4-FFF2-40B4-BE49-F238E27FC236}">
                    <a16:creationId xmlns:a16="http://schemas.microsoft.com/office/drawing/2014/main" id="{57E0C0AC-9BA1-214B-8145-543EE42ED6E9}"/>
                  </a:ext>
                </a:extLst>
              </p:cNvPr>
              <p:cNvSpPr/>
              <p:nvPr userDrawn="1"/>
            </p:nvSpPr>
            <p:spPr>
              <a:xfrm rot="18900000">
                <a:off x="9227663" y="1672933"/>
                <a:ext cx="2954922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1" name="Rectangle 100">
                <a:extLst>
                  <a:ext uri="{FF2B5EF4-FFF2-40B4-BE49-F238E27FC236}">
                    <a16:creationId xmlns:a16="http://schemas.microsoft.com/office/drawing/2014/main" id="{D4538913-9335-E444-BF4E-F794A08ED497}"/>
                  </a:ext>
                </a:extLst>
              </p:cNvPr>
              <p:cNvSpPr/>
              <p:nvPr/>
            </p:nvSpPr>
            <p:spPr>
              <a:xfrm>
                <a:off x="-1017" y="6143607"/>
                <a:ext cx="1172392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2" name="Rectangle 101">
                <a:extLst>
                  <a:ext uri="{FF2B5EF4-FFF2-40B4-BE49-F238E27FC236}">
                    <a16:creationId xmlns:a16="http://schemas.microsoft.com/office/drawing/2014/main" id="{B0E2A164-33EF-A54E-9F2D-524ABD561FD8}"/>
                  </a:ext>
                </a:extLst>
              </p:cNvPr>
              <p:cNvSpPr/>
              <p:nvPr userDrawn="1"/>
            </p:nvSpPr>
            <p:spPr>
              <a:xfrm>
                <a:off x="-1017" y="6260318"/>
                <a:ext cx="1184210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4" name="Rectangle 103">
                <a:extLst>
                  <a:ext uri="{FF2B5EF4-FFF2-40B4-BE49-F238E27FC236}">
                    <a16:creationId xmlns:a16="http://schemas.microsoft.com/office/drawing/2014/main" id="{84A060C7-32C6-3044-9FCC-1367B695FF14}"/>
                  </a:ext>
                </a:extLst>
              </p:cNvPr>
              <p:cNvSpPr/>
              <p:nvPr/>
            </p:nvSpPr>
            <p:spPr>
              <a:xfrm rot="16200000">
                <a:off x="10610640" y="5133287"/>
                <a:ext cx="2112803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5" name="Rectangle 104">
                <a:extLst>
                  <a:ext uri="{FF2B5EF4-FFF2-40B4-BE49-F238E27FC236}">
                    <a16:creationId xmlns:a16="http://schemas.microsoft.com/office/drawing/2014/main" id="{A19BE616-B0FC-664F-8D2F-6A3F97AB1633}"/>
                  </a:ext>
                </a:extLst>
              </p:cNvPr>
              <p:cNvSpPr/>
              <p:nvPr userDrawn="1"/>
            </p:nvSpPr>
            <p:spPr>
              <a:xfrm rot="16200000">
                <a:off x="10604504" y="5139423"/>
                <a:ext cx="2358498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7" name="Rectangle 106">
                <a:extLst>
                  <a:ext uri="{FF2B5EF4-FFF2-40B4-BE49-F238E27FC236}">
                    <a16:creationId xmlns:a16="http://schemas.microsoft.com/office/drawing/2014/main" id="{5EF27DDE-4D35-EC48-99B6-93AD172168ED}"/>
                  </a:ext>
                </a:extLst>
              </p:cNvPr>
              <p:cNvSpPr/>
              <p:nvPr/>
            </p:nvSpPr>
            <p:spPr>
              <a:xfrm rot="10800000">
                <a:off x="9509673" y="4135243"/>
                <a:ext cx="2213239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08" name="Rectangle 107">
                <a:extLst>
                  <a:ext uri="{FF2B5EF4-FFF2-40B4-BE49-F238E27FC236}">
                    <a16:creationId xmlns:a16="http://schemas.microsoft.com/office/drawing/2014/main" id="{5B9AE42F-8A3D-BD41-8E8C-B03D6F2AABFD}"/>
                  </a:ext>
                </a:extLst>
              </p:cNvPr>
              <p:cNvSpPr/>
              <p:nvPr userDrawn="1"/>
            </p:nvSpPr>
            <p:spPr>
              <a:xfrm rot="10800000">
                <a:off x="9616608" y="4018531"/>
                <a:ext cx="221323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8018B7F2-7545-1A40-8767-8909D3F4819C}"/>
                </a:ext>
              </a:extLst>
            </p:cNvPr>
            <p:cNvGrpSpPr/>
            <p:nvPr userDrawn="1"/>
          </p:nvGrpSpPr>
          <p:grpSpPr>
            <a:xfrm>
              <a:off x="10912844" y="498906"/>
              <a:ext cx="932229" cy="932361"/>
              <a:chOff x="10912844" y="498906"/>
              <a:chExt cx="932229" cy="932361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86F24CA8-7119-C74B-961C-0D182044791D}"/>
                  </a:ext>
                </a:extLst>
              </p:cNvPr>
              <p:cNvGrpSpPr/>
              <p:nvPr userDrawn="1"/>
            </p:nvGrpSpPr>
            <p:grpSpPr>
              <a:xfrm>
                <a:off x="10915811" y="498906"/>
                <a:ext cx="929262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0" name="Parallelogram 39">
                  <a:extLst>
                    <a:ext uri="{FF2B5EF4-FFF2-40B4-BE49-F238E27FC236}">
                      <a16:creationId xmlns:a16="http://schemas.microsoft.com/office/drawing/2014/main" id="{4ECDA969-3B93-0041-8812-9414A9750FCE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1" name="Parallelogram 40">
                  <a:extLst>
                    <a:ext uri="{FF2B5EF4-FFF2-40B4-BE49-F238E27FC236}">
                      <a16:creationId xmlns:a16="http://schemas.microsoft.com/office/drawing/2014/main" id="{CA5C2512-C76D-6E41-8E09-02263D12AC03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2E6F009D-4DD9-1445-882C-05B6CB71001E}"/>
                  </a:ext>
                </a:extLst>
              </p:cNvPr>
              <p:cNvGrpSpPr/>
              <p:nvPr userDrawn="1"/>
            </p:nvGrpSpPr>
            <p:grpSpPr>
              <a:xfrm>
                <a:off x="10912844" y="609246"/>
                <a:ext cx="823347" cy="822021"/>
                <a:chOff x="3966636" y="2277354"/>
                <a:chExt cx="823347" cy="822021"/>
              </a:xfrm>
              <a:solidFill>
                <a:srgbClr val="E21A23"/>
              </a:solidFill>
            </p:grpSpPr>
            <p:sp>
              <p:nvSpPr>
                <p:cNvPr id="38" name="Parallelogram 61">
                  <a:extLst>
                    <a:ext uri="{FF2B5EF4-FFF2-40B4-BE49-F238E27FC236}">
                      <a16:creationId xmlns:a16="http://schemas.microsoft.com/office/drawing/2014/main" id="{4FF1D96C-C26A-D247-B296-2D1B409294A0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61">
                  <a:extLst>
                    <a:ext uri="{FF2B5EF4-FFF2-40B4-BE49-F238E27FC236}">
                      <a16:creationId xmlns:a16="http://schemas.microsoft.com/office/drawing/2014/main" id="{5610441A-E740-F54A-80F8-0C5A74DE2B3B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</p:grpSp>
      <p:sp>
        <p:nvSpPr>
          <p:cNvPr id="58" name="Rectangle 57">
            <a:extLst>
              <a:ext uri="{FF2B5EF4-FFF2-40B4-BE49-F238E27FC236}">
                <a16:creationId xmlns:a16="http://schemas.microsoft.com/office/drawing/2014/main" id="{1D270C0A-6D12-D543-BBDC-13F13EEF7DA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D1AB0CE1-8D6D-7448-B8CE-6354B4485CD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bg2"/>
          </a:solidFill>
          <a:ln w="9525">
            <a:solidFill>
              <a:srgbClr val="08337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62B1EA1F-4CEF-8943-B26B-D2EE7BECA27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3" name="Numeral Date">
            <a:extLst>
              <a:ext uri="{FF2B5EF4-FFF2-40B4-BE49-F238E27FC236}">
                <a16:creationId xmlns:a16="http://schemas.microsoft.com/office/drawing/2014/main" id="{C75370B1-A29C-D045-93FF-A3FF43E45D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44" name="Name &amp; Surname">
            <a:extLst>
              <a:ext uri="{FF2B5EF4-FFF2-40B4-BE49-F238E27FC236}">
                <a16:creationId xmlns:a16="http://schemas.microsoft.com/office/drawing/2014/main" id="{0FC2ACD5-DFC3-DC4A-AD29-579EDAF07FE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60" name="Subtitle">
            <a:extLst>
              <a:ext uri="{FF2B5EF4-FFF2-40B4-BE49-F238E27FC236}">
                <a16:creationId xmlns:a16="http://schemas.microsoft.com/office/drawing/2014/main" id="{360FC992-BC0C-6F41-B636-9B86C8738C2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3" name="Title 2">
            <a:extLst>
              <a:ext uri="{FF2B5EF4-FFF2-40B4-BE49-F238E27FC236}">
                <a16:creationId xmlns:a16="http://schemas.microsoft.com/office/drawing/2014/main" id="{2EA7844D-0BD6-CD4D-8958-F02051CF3E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56" name="Picture 55" descr="McGraw Hill red cube Logo">
            <a:extLst>
              <a:ext uri="{FF2B5EF4-FFF2-40B4-BE49-F238E27FC236}">
                <a16:creationId xmlns:a16="http://schemas.microsoft.com/office/drawing/2014/main" id="{FB8ADFE6-C4A2-E14F-8FFD-6019DBA6187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906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404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34367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_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08C330D-E520-B044-BD7F-823FA39703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0625"/>
          <a:stretch/>
        </p:blipFill>
        <p:spPr>
          <a:xfrm>
            <a:off x="0" y="728662"/>
            <a:ext cx="12187066" cy="6129337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2" name="Rectangle 21">
            <a:extLst>
              <a:ext uri="{FF2B5EF4-FFF2-40B4-BE49-F238E27FC236}">
                <a16:creationId xmlns:a16="http://schemas.microsoft.com/office/drawing/2014/main" id="{8AE447BA-E1FE-7549-9DBC-7AACD8913A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592853" y="1433824"/>
            <a:ext cx="2583634" cy="1183772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C63F4F9D-236C-FE44-AC73-5145CBDED1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95566" y="2132792"/>
            <a:ext cx="6331352" cy="3515654"/>
          </a:xfrm>
          <a:prstGeom prst="rect">
            <a:avLst/>
          </a:prstGeom>
          <a:solidFill>
            <a:srgbClr val="E5E5E5"/>
          </a:solidFill>
          <a:ln w="9525">
            <a:solidFill>
              <a:srgbClr val="CCCCC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08BA20F-287E-A64B-B0E2-6A026B4332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2C589809-6889-304F-BCFD-CB64BE2997DB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771E4932-0E80-7849-8F31-59BE38507149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E74A92CB-3D2E-0446-A274-2F2CAA316017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1895650C-4BDD-2C4A-B540-9EC7AF02BBFD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Copy 2">
            <a:extLst>
              <a:ext uri="{FF2B5EF4-FFF2-40B4-BE49-F238E27FC236}">
                <a16:creationId xmlns:a16="http://schemas.microsoft.com/office/drawing/2014/main" id="{83FC4E0C-81D0-2843-AF35-C8972AD081A3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44" name="Copy 2">
            <a:extLst>
              <a:ext uri="{FF2B5EF4-FFF2-40B4-BE49-F238E27FC236}">
                <a16:creationId xmlns:a16="http://schemas.microsoft.com/office/drawing/2014/main" id="{4ECEB2AE-9816-3A4C-938A-3042348F0EEB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Copy 2">
            <a:extLst>
              <a:ext uri="{FF2B5EF4-FFF2-40B4-BE49-F238E27FC236}">
                <a16:creationId xmlns:a16="http://schemas.microsoft.com/office/drawing/2014/main" id="{0538509E-84DE-5B48-9C6C-F12FEB805CE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0" name="Copy 2">
            <a:extLst>
              <a:ext uri="{FF2B5EF4-FFF2-40B4-BE49-F238E27FC236}">
                <a16:creationId xmlns:a16="http://schemas.microsoft.com/office/drawing/2014/main" id="{230F3435-ED54-634F-BEC4-8BA3E46EEE2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7" name="Copy 2">
            <a:extLst>
              <a:ext uri="{FF2B5EF4-FFF2-40B4-BE49-F238E27FC236}">
                <a16:creationId xmlns:a16="http://schemas.microsoft.com/office/drawing/2014/main" id="{3832C629-D010-424E-8A08-13B90033315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36" name="Copy 2">
            <a:extLst>
              <a:ext uri="{FF2B5EF4-FFF2-40B4-BE49-F238E27FC236}">
                <a16:creationId xmlns:a16="http://schemas.microsoft.com/office/drawing/2014/main" id="{D446FFD1-F5A6-7C4B-B3E0-9B8AF09F110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52" name="Subtitle">
            <a:extLst>
              <a:ext uri="{FF2B5EF4-FFF2-40B4-BE49-F238E27FC236}">
                <a16:creationId xmlns:a16="http://schemas.microsoft.com/office/drawing/2014/main" id="{409D71C9-875A-1A4D-8CAB-D768AA686F6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976028" y="2021714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0" name="Title 1">
            <a:extLst>
              <a:ext uri="{FF2B5EF4-FFF2-40B4-BE49-F238E27FC236}">
                <a16:creationId xmlns:a16="http://schemas.microsoft.com/office/drawing/2014/main" id="{9D511974-7E30-5F48-9610-8BB584FB3B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76028" y="1648584"/>
            <a:ext cx="2190520" cy="332905"/>
          </a:xfrm>
        </p:spPr>
        <p:txBody>
          <a:bodyPr>
            <a:normAutofit/>
          </a:bodyPr>
          <a:lstStyle>
            <a:lvl1pPr>
              <a:defRPr sz="2400"/>
            </a:lvl1pPr>
          </a:lstStyle>
          <a:p>
            <a:endParaRPr lang="en-US"/>
          </a:p>
        </p:txBody>
      </p:sp>
      <p:sp>
        <p:nvSpPr>
          <p:cNvPr id="26" name="Chapter Title">
            <a:extLst>
              <a:ext uri="{FF2B5EF4-FFF2-40B4-BE49-F238E27FC236}">
                <a16:creationId xmlns:a16="http://schemas.microsoft.com/office/drawing/2014/main" id="{76329F06-79E5-9746-AFE7-EEB9368217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57D0B80-12FD-454F-BA40-B491810A45CD}"/>
              </a:ext>
            </a:extLst>
          </p:cNvPr>
          <p:cNvSpPr>
            <a:spLocks noGrp="1"/>
          </p:cNvSpPr>
          <p:nvPr>
            <p:ph type="ftr" sz="quarter" idx="35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85277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 Slides_No 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9539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84D5301B-133C-564C-A213-9DA092C66DA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3499"/>
            <a:ext cx="11851251" cy="5142543"/>
            <a:chOff x="-14169" y="507347"/>
            <a:chExt cx="11851251" cy="5142543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607632-190B-BF46-A15F-419EBA13D38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BCC3EE70-2932-9F45-86C4-6EB0FC1208EB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E24F4CF0-1139-A04F-8262-0FA8B4E1A447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E8BB8EE7-4379-1C4F-8C8B-F6CD9F7EE4CF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20" name="Parallelogram 19">
                <a:extLst>
                  <a:ext uri="{FF2B5EF4-FFF2-40B4-BE49-F238E27FC236}">
                    <a16:creationId xmlns:a16="http://schemas.microsoft.com/office/drawing/2014/main" id="{B6CF2F0D-211E-1246-B0AC-C15369890DD1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75C03DF-97F8-9846-88BD-3B9E9CAFF73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86BE882A-7C95-DB46-BB47-D80D783466A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5" name="Copy 2">
            <a:extLst>
              <a:ext uri="{FF2B5EF4-FFF2-40B4-BE49-F238E27FC236}">
                <a16:creationId xmlns:a16="http://schemas.microsoft.com/office/drawing/2014/main" id="{8E79F517-E97A-2748-BB37-5253B0C35F4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8336363" y="510292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</a:t>
            </a:r>
          </a:p>
        </p:txBody>
      </p:sp>
      <p:sp>
        <p:nvSpPr>
          <p:cNvPr id="54" name="Copy 2">
            <a:extLst>
              <a:ext uri="{FF2B5EF4-FFF2-40B4-BE49-F238E27FC236}">
                <a16:creationId xmlns:a16="http://schemas.microsoft.com/office/drawing/2014/main" id="{3B8A7439-D821-E74D-A59D-0A056B5D0A52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727915" y="510682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qu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i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isi</a:t>
            </a:r>
          </a:p>
        </p:txBody>
      </p:sp>
      <p:sp>
        <p:nvSpPr>
          <p:cNvPr id="53" name="Copy 2">
            <a:extLst>
              <a:ext uri="{FF2B5EF4-FFF2-40B4-BE49-F238E27FC236}">
                <a16:creationId xmlns:a16="http://schemas.microsoft.com/office/drawing/2014/main" id="{31B6FA48-16DD-004A-9464-40670B70092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336363" y="443370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9-12</a:t>
            </a:r>
          </a:p>
        </p:txBody>
      </p:sp>
      <p:sp>
        <p:nvSpPr>
          <p:cNvPr id="52" name="Copy 2">
            <a:extLst>
              <a:ext uri="{FF2B5EF4-FFF2-40B4-BE49-F238E27FC236}">
                <a16:creationId xmlns:a16="http://schemas.microsoft.com/office/drawing/2014/main" id="{265B6FF0-F656-0B43-B8D5-E437272BE509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727915" y="443759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Copy 2">
            <a:extLst>
              <a:ext uri="{FF2B5EF4-FFF2-40B4-BE49-F238E27FC236}">
                <a16:creationId xmlns:a16="http://schemas.microsoft.com/office/drawing/2014/main" id="{96FFBA0B-358D-D141-BE91-646C0B1AD23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336363" y="3747675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5-08</a:t>
            </a:r>
          </a:p>
        </p:txBody>
      </p:sp>
      <p:sp>
        <p:nvSpPr>
          <p:cNvPr id="50" name="Copy 2">
            <a:extLst>
              <a:ext uri="{FF2B5EF4-FFF2-40B4-BE49-F238E27FC236}">
                <a16:creationId xmlns:a16="http://schemas.microsoft.com/office/drawing/2014/main" id="{8E55FD44-AA75-3240-B10E-45B18867F870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727915" y="3751569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9" name="Copy 2">
            <a:extLst>
              <a:ext uri="{FF2B5EF4-FFF2-40B4-BE49-F238E27FC236}">
                <a16:creationId xmlns:a16="http://schemas.microsoft.com/office/drawing/2014/main" id="{F33E9590-2B13-C240-8A3F-C37F5BF0FA7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336363" y="3034059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2-04</a:t>
            </a:r>
          </a:p>
        </p:txBody>
      </p:sp>
      <p:sp>
        <p:nvSpPr>
          <p:cNvPr id="48" name="Copy 2">
            <a:extLst>
              <a:ext uri="{FF2B5EF4-FFF2-40B4-BE49-F238E27FC236}">
                <a16:creationId xmlns:a16="http://schemas.microsoft.com/office/drawing/2014/main" id="{45AB5212-6841-5641-A6E9-2439AD1F5E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727915" y="3037953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ec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lesuada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Copy 2">
            <a:extLst>
              <a:ext uri="{FF2B5EF4-FFF2-40B4-BE49-F238E27FC236}">
                <a16:creationId xmlns:a16="http://schemas.microsoft.com/office/drawing/2014/main" id="{69222BC1-7ACE-A845-B5C4-562B12BD884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336363" y="2336428"/>
            <a:ext cx="1472696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1</a:t>
            </a:r>
          </a:p>
        </p:txBody>
      </p:sp>
      <p:sp>
        <p:nvSpPr>
          <p:cNvPr id="46" name="Copy 2">
            <a:extLst>
              <a:ext uri="{FF2B5EF4-FFF2-40B4-BE49-F238E27FC236}">
                <a16:creationId xmlns:a16="http://schemas.microsoft.com/office/drawing/2014/main" id="{FFB5E7A5-06FF-8E41-A206-8FE0483CFA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27915" y="2340322"/>
            <a:ext cx="3532018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</a:t>
            </a:r>
          </a:p>
        </p:txBody>
      </p:sp>
      <p:sp>
        <p:nvSpPr>
          <p:cNvPr id="45" name="Subtitle">
            <a:extLst>
              <a:ext uri="{FF2B5EF4-FFF2-40B4-BE49-F238E27FC236}">
                <a16:creationId xmlns:a16="http://schemas.microsoft.com/office/drawing/2014/main" id="{E6A78EA7-0D45-D84E-9603-8D69EB853F0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9052" y="2023690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ADCA9C4C-4F7B-8F4F-A1CD-CFC62E52FC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4118751" cy="332905"/>
          </a:xfrm>
        </p:spPr>
        <p:txBody>
          <a:bodyPr>
            <a:noAutofit/>
          </a:bodyPr>
          <a:lstStyle>
            <a:lvl1pPr>
              <a:defRPr sz="2400"/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2" name="Chapter Title">
            <a:extLst>
              <a:ext uri="{FF2B5EF4-FFF2-40B4-BE49-F238E27FC236}">
                <a16:creationId xmlns:a16="http://schemas.microsoft.com/office/drawing/2014/main" id="{A3C8596E-EA5D-684C-8A87-6E61DFA8A62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1695" y="323151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AE84DAE-CB25-CA46-92DA-96F9B98F3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418133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140FAE7B-C969-EA4C-B018-E010BFDDB33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rgbClr val="0623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0" name="Picture 29" descr="McGraw Hill cube Logo">
            <a:extLst>
              <a:ext uri="{FF2B5EF4-FFF2-40B4-BE49-F238E27FC236}">
                <a16:creationId xmlns:a16="http://schemas.microsoft.com/office/drawing/2014/main" id="{FEAEE38D-F776-C54D-998E-34EC9E04A1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6756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BLU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044F715-949A-4B0A-5E61-32B593168F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69" name="Group 68">
            <a:extLst>
              <a:ext uri="{FF2B5EF4-FFF2-40B4-BE49-F238E27FC236}">
                <a16:creationId xmlns:a16="http://schemas.microsoft.com/office/drawing/2014/main" id="{88B37A11-A451-B14A-A613-5DC98C2A30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506002"/>
            <a:ext cx="11897228" cy="5350534"/>
            <a:chOff x="0" y="498906"/>
            <a:chExt cx="11897228" cy="5350534"/>
          </a:xfrm>
        </p:grpSpPr>
        <p:sp>
          <p:nvSpPr>
            <p:cNvPr id="70" name="Rectangle 69">
              <a:extLst>
                <a:ext uri="{FF2B5EF4-FFF2-40B4-BE49-F238E27FC236}">
                  <a16:creationId xmlns:a16="http://schemas.microsoft.com/office/drawing/2014/main" id="{A51B0339-C2E6-3143-B244-BD4D1E18126D}"/>
                </a:ext>
              </a:extLst>
            </p:cNvPr>
            <p:cNvSpPr/>
            <p:nvPr userDrawn="1"/>
          </p:nvSpPr>
          <p:spPr>
            <a:xfrm rot="18900000">
              <a:off x="10798542" y="892842"/>
              <a:ext cx="101783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1" name="Rectangle 70">
              <a:extLst>
                <a:ext uri="{FF2B5EF4-FFF2-40B4-BE49-F238E27FC236}">
                  <a16:creationId xmlns:a16="http://schemas.microsoft.com/office/drawing/2014/main" id="{C129491A-35D4-A84B-9565-87CDF183DA99}"/>
                </a:ext>
              </a:extLst>
            </p:cNvPr>
            <p:cNvSpPr/>
            <p:nvPr userDrawn="1"/>
          </p:nvSpPr>
          <p:spPr>
            <a:xfrm rot="18900000">
              <a:off x="10890847" y="974494"/>
              <a:ext cx="1006381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72" name="Group 71">
              <a:extLst>
                <a:ext uri="{FF2B5EF4-FFF2-40B4-BE49-F238E27FC236}">
                  <a16:creationId xmlns:a16="http://schemas.microsoft.com/office/drawing/2014/main" id="{E0E98AE8-8411-B84B-8292-638139043AC5}"/>
                </a:ext>
              </a:extLst>
            </p:cNvPr>
            <p:cNvGrpSpPr/>
            <p:nvPr userDrawn="1"/>
          </p:nvGrpSpPr>
          <p:grpSpPr>
            <a:xfrm>
              <a:off x="10905053" y="498906"/>
              <a:ext cx="929262" cy="929262"/>
              <a:chOff x="3969603" y="2167014"/>
              <a:chExt cx="929262" cy="929262"/>
            </a:xfrm>
            <a:solidFill>
              <a:srgbClr val="E3B9FC"/>
            </a:solidFill>
          </p:grpSpPr>
          <p:sp>
            <p:nvSpPr>
              <p:cNvPr id="84" name="Parallelogram 83">
                <a:extLst>
                  <a:ext uri="{FF2B5EF4-FFF2-40B4-BE49-F238E27FC236}">
                    <a16:creationId xmlns:a16="http://schemas.microsoft.com/office/drawing/2014/main" id="{DC41989C-E26D-6442-B3CA-B5B0F28175A6}"/>
                  </a:ext>
                </a:extLst>
              </p:cNvPr>
              <p:cNvSpPr/>
              <p:nvPr userDrawn="1"/>
            </p:nvSpPr>
            <p:spPr>
              <a:xfrm>
                <a:off x="3969603" y="2168473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5" name="Parallelogram 84">
                <a:extLst>
                  <a:ext uri="{FF2B5EF4-FFF2-40B4-BE49-F238E27FC236}">
                    <a16:creationId xmlns:a16="http://schemas.microsoft.com/office/drawing/2014/main" id="{AB6243CF-39D2-D048-B28C-C3914962E629}"/>
                  </a:ext>
                </a:extLst>
              </p:cNvPr>
              <p:cNvSpPr/>
              <p:nvPr userDrawn="1"/>
            </p:nvSpPr>
            <p:spPr>
              <a:xfrm rot="5400000" flipH="1">
                <a:off x="4321438" y="2518849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4EA953C2-A653-0845-9DC2-36DE9B037A96}"/>
                </a:ext>
              </a:extLst>
            </p:cNvPr>
            <p:cNvGrpSpPr/>
            <p:nvPr userDrawn="1"/>
          </p:nvGrpSpPr>
          <p:grpSpPr>
            <a:xfrm>
              <a:off x="10902086" y="612832"/>
              <a:ext cx="823347" cy="822021"/>
              <a:chOff x="3966636" y="2277354"/>
              <a:chExt cx="823347" cy="822021"/>
            </a:xfrm>
            <a:solidFill>
              <a:srgbClr val="06235B"/>
            </a:solidFill>
          </p:grpSpPr>
          <p:sp>
            <p:nvSpPr>
              <p:cNvPr id="82" name="Parallelogram 61">
                <a:extLst>
                  <a:ext uri="{FF2B5EF4-FFF2-40B4-BE49-F238E27FC236}">
                    <a16:creationId xmlns:a16="http://schemas.microsoft.com/office/drawing/2014/main" id="{9C6D802B-1C1B-2448-A369-EA4FB3078951}"/>
                  </a:ext>
                </a:extLst>
              </p:cNvPr>
              <p:cNvSpPr/>
              <p:nvPr userDrawn="1"/>
            </p:nvSpPr>
            <p:spPr>
              <a:xfrm>
                <a:off x="3966636" y="2277354"/>
                <a:ext cx="821312" cy="119886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19886">
                    <a:moveTo>
                      <a:pt x="0" y="119886"/>
                    </a:moveTo>
                    <a:lnTo>
                      <a:pt x="112441" y="3175"/>
                    </a:lnTo>
                    <a:lnTo>
                      <a:pt x="821312" y="0"/>
                    </a:lnTo>
                    <a:lnTo>
                      <a:pt x="708871" y="116711"/>
                    </a:lnTo>
                    <a:lnTo>
                      <a:pt x="0" y="11988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83" name="Parallelogram 61">
                <a:extLst>
                  <a:ext uri="{FF2B5EF4-FFF2-40B4-BE49-F238E27FC236}">
                    <a16:creationId xmlns:a16="http://schemas.microsoft.com/office/drawing/2014/main" id="{EDEDF0C9-1B0B-7D40-9C60-92AD32713352}"/>
                  </a:ext>
                </a:extLst>
              </p:cNvPr>
              <p:cNvSpPr/>
              <p:nvPr userDrawn="1"/>
            </p:nvSpPr>
            <p:spPr>
              <a:xfrm rot="16200000" flipH="1">
                <a:off x="4317797" y="2627188"/>
                <a:ext cx="821312" cy="123061"/>
              </a:xfrm>
              <a:custGeom>
                <a:avLst/>
                <a:gdLst>
                  <a:gd name="connsiteX0" fmla="*/ 0 w 929262"/>
                  <a:gd name="connsiteY0" fmla="*/ 116711 h 116711"/>
                  <a:gd name="connsiteX1" fmla="*/ 112441 w 929262"/>
                  <a:gd name="connsiteY1" fmla="*/ 0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929262"/>
                  <a:gd name="connsiteY0" fmla="*/ 116711 h 116711"/>
                  <a:gd name="connsiteX1" fmla="*/ 223566 w 929262"/>
                  <a:gd name="connsiteY1" fmla="*/ 3175 h 116711"/>
                  <a:gd name="connsiteX2" fmla="*/ 929262 w 929262"/>
                  <a:gd name="connsiteY2" fmla="*/ 0 h 116711"/>
                  <a:gd name="connsiteX3" fmla="*/ 816821 w 929262"/>
                  <a:gd name="connsiteY3" fmla="*/ 116711 h 116711"/>
                  <a:gd name="connsiteX4" fmla="*/ 0 w 929262"/>
                  <a:gd name="connsiteY4" fmla="*/ 116711 h 116711"/>
                  <a:gd name="connsiteX0" fmla="*/ 0 w 805437"/>
                  <a:gd name="connsiteY0" fmla="*/ 116711 h 116711"/>
                  <a:gd name="connsiteX1" fmla="*/ 99741 w 805437"/>
                  <a:gd name="connsiteY1" fmla="*/ 3175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1537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05437"/>
                  <a:gd name="connsiteY0" fmla="*/ 116711 h 116711"/>
                  <a:gd name="connsiteX1" fmla="*/ 90216 w 805437"/>
                  <a:gd name="connsiteY1" fmla="*/ 6350 h 116711"/>
                  <a:gd name="connsiteX2" fmla="*/ 805437 w 805437"/>
                  <a:gd name="connsiteY2" fmla="*/ 0 h 116711"/>
                  <a:gd name="connsiteX3" fmla="*/ 692996 w 805437"/>
                  <a:gd name="connsiteY3" fmla="*/ 116711 h 116711"/>
                  <a:gd name="connsiteX4" fmla="*/ 0 w 805437"/>
                  <a:gd name="connsiteY4" fmla="*/ 116711 h 116711"/>
                  <a:gd name="connsiteX0" fmla="*/ 0 w 821312"/>
                  <a:gd name="connsiteY0" fmla="*/ 119886 h 119886"/>
                  <a:gd name="connsiteX1" fmla="*/ 106091 w 821312"/>
                  <a:gd name="connsiteY1" fmla="*/ 635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2441 w 821312"/>
                  <a:gd name="connsiteY1" fmla="*/ 3175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19886 h 119886"/>
                  <a:gd name="connsiteX1" fmla="*/ 118791 w 821312"/>
                  <a:gd name="connsiteY1" fmla="*/ 0 h 119886"/>
                  <a:gd name="connsiteX2" fmla="*/ 821312 w 821312"/>
                  <a:gd name="connsiteY2" fmla="*/ 0 h 119886"/>
                  <a:gd name="connsiteX3" fmla="*/ 708871 w 821312"/>
                  <a:gd name="connsiteY3" fmla="*/ 116711 h 119886"/>
                  <a:gd name="connsiteX4" fmla="*/ 0 w 821312"/>
                  <a:gd name="connsiteY4" fmla="*/ 119886 h 119886"/>
                  <a:gd name="connsiteX0" fmla="*/ 0 w 821312"/>
                  <a:gd name="connsiteY0" fmla="*/ 123061 h 123061"/>
                  <a:gd name="connsiteX1" fmla="*/ 64816 w 821312"/>
                  <a:gd name="connsiteY1" fmla="*/ 0 h 123061"/>
                  <a:gd name="connsiteX2" fmla="*/ 821312 w 821312"/>
                  <a:gd name="connsiteY2" fmla="*/ 3175 h 123061"/>
                  <a:gd name="connsiteX3" fmla="*/ 708871 w 821312"/>
                  <a:gd name="connsiteY3" fmla="*/ 119886 h 123061"/>
                  <a:gd name="connsiteX4" fmla="*/ 0 w 821312"/>
                  <a:gd name="connsiteY4" fmla="*/ 123061 h 12306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821312" h="123061">
                    <a:moveTo>
                      <a:pt x="0" y="123061"/>
                    </a:moveTo>
                    <a:lnTo>
                      <a:pt x="64816" y="0"/>
                    </a:lnTo>
                    <a:lnTo>
                      <a:pt x="821312" y="3175"/>
                    </a:lnTo>
                    <a:lnTo>
                      <a:pt x="708871" y="119886"/>
                    </a:lnTo>
                    <a:lnTo>
                      <a:pt x="0" y="12306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C9203BDD-F085-D54C-9B92-5D89770BA44F}"/>
                </a:ext>
              </a:extLst>
            </p:cNvPr>
            <p:cNvSpPr/>
            <p:nvPr userDrawn="1"/>
          </p:nvSpPr>
          <p:spPr>
            <a:xfrm rot="16200000">
              <a:off x="10612440" y="1560289"/>
              <a:ext cx="69378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261CD1B2-8A88-4D4D-8EE9-356040E2B5C3}"/>
                </a:ext>
              </a:extLst>
            </p:cNvPr>
            <p:cNvSpPr/>
            <p:nvPr userDrawn="1"/>
          </p:nvSpPr>
          <p:spPr>
            <a:xfrm>
              <a:off x="0" y="5616018"/>
              <a:ext cx="4524277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6" name="Rectangle 75">
              <a:extLst>
                <a:ext uri="{FF2B5EF4-FFF2-40B4-BE49-F238E27FC236}">
                  <a16:creationId xmlns:a16="http://schemas.microsoft.com/office/drawing/2014/main" id="{E9B532A4-72CD-B24F-BE9E-7E6C3538E514}"/>
                </a:ext>
              </a:extLst>
            </p:cNvPr>
            <p:cNvSpPr/>
            <p:nvPr userDrawn="1"/>
          </p:nvSpPr>
          <p:spPr>
            <a:xfrm>
              <a:off x="0" y="5732729"/>
              <a:ext cx="4524277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80D230A1-DF77-DC4E-9A42-EEC7C5D67993}"/>
                </a:ext>
              </a:extLst>
            </p:cNvPr>
            <p:cNvSpPr/>
            <p:nvPr userDrawn="1"/>
          </p:nvSpPr>
          <p:spPr>
            <a:xfrm rot="16200000">
              <a:off x="2357684" y="3679671"/>
              <a:ext cx="3983056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8" name="Rectangle 77">
              <a:extLst>
                <a:ext uri="{FF2B5EF4-FFF2-40B4-BE49-F238E27FC236}">
                  <a16:creationId xmlns:a16="http://schemas.microsoft.com/office/drawing/2014/main" id="{395FC387-B840-D144-9C0C-7CED914FF8A8}"/>
                </a:ext>
              </a:extLst>
            </p:cNvPr>
            <p:cNvSpPr/>
            <p:nvPr userDrawn="1"/>
          </p:nvSpPr>
          <p:spPr>
            <a:xfrm rot="16200000">
              <a:off x="2417629" y="3736438"/>
              <a:ext cx="409658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9" name="Rectangle 78">
              <a:extLst>
                <a:ext uri="{FF2B5EF4-FFF2-40B4-BE49-F238E27FC236}">
                  <a16:creationId xmlns:a16="http://schemas.microsoft.com/office/drawing/2014/main" id="{15891EC6-CDBE-7B4D-8AD8-65999404C3DF}"/>
                </a:ext>
              </a:extLst>
            </p:cNvPr>
            <p:cNvSpPr/>
            <p:nvPr userDrawn="1"/>
          </p:nvSpPr>
          <p:spPr>
            <a:xfrm>
              <a:off x="4290855" y="1746499"/>
              <a:ext cx="6843541" cy="11671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07E0216E-0E5D-5D4F-BB4E-47134EF5BCA0}"/>
                </a:ext>
              </a:extLst>
            </p:cNvPr>
            <p:cNvSpPr/>
            <p:nvPr userDrawn="1"/>
          </p:nvSpPr>
          <p:spPr>
            <a:xfrm>
              <a:off x="4440730" y="1863210"/>
              <a:ext cx="6681309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FAB71DA5-CF63-FE4F-AE8F-D72A2684966E}"/>
                </a:ext>
              </a:extLst>
            </p:cNvPr>
            <p:cNvSpPr/>
            <p:nvPr userDrawn="1"/>
          </p:nvSpPr>
          <p:spPr>
            <a:xfrm rot="16200000">
              <a:off x="10778958" y="1603747"/>
              <a:ext cx="594165" cy="116711"/>
            </a:xfrm>
            <a:prstGeom prst="rect">
              <a:avLst/>
            </a:prstGeom>
            <a:solidFill>
              <a:srgbClr val="E3B9F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90" name="Rectangle 89">
            <a:extLst>
              <a:ext uri="{FF2B5EF4-FFF2-40B4-BE49-F238E27FC236}">
                <a16:creationId xmlns:a16="http://schemas.microsoft.com/office/drawing/2014/main" id="{07ADE1EB-1CB5-2346-AF61-868FF2D41E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71563"/>
            <a:ext cx="7667723" cy="387244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sp>
        <p:nvSpPr>
          <p:cNvPr id="25" name="Pg number">
            <a:extLst>
              <a:ext uri="{FF2B5EF4-FFF2-40B4-BE49-F238E27FC236}">
                <a16:creationId xmlns:a16="http://schemas.microsoft.com/office/drawing/2014/main" id="{0C8CE0BD-720A-0A41-BFD2-D138577FC5D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Subtitle">
            <a:extLst>
              <a:ext uri="{FF2B5EF4-FFF2-40B4-BE49-F238E27FC236}">
                <a16:creationId xmlns:a16="http://schemas.microsoft.com/office/drawing/2014/main" id="{C1F4978B-3695-7A4D-B017-E81591AFC0F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E34B8769-635F-D74F-ABA7-7F04BF619A6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" name="Picture 1" descr="McGraw Hill red cube Logo">
            <a:extLst>
              <a:ext uri="{FF2B5EF4-FFF2-40B4-BE49-F238E27FC236}">
                <a16:creationId xmlns:a16="http://schemas.microsoft.com/office/drawing/2014/main" id="{624423C3-3CC8-6B32-9362-91ED190AD48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2162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FD39785A-557E-E14B-A935-CDBDBDD4CDA3}"/>
              </a:ext>
            </a:extLst>
          </p:cNvPr>
          <p:cNvSpPr/>
          <p:nvPr userDrawn="1"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1E37CF15-892E-7F49-AF0C-7BE439FF32C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0838D3D7-DCCD-8346-A433-F53F64323D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en-US"/>
          </a:p>
        </p:txBody>
      </p:sp>
      <p:grpSp>
        <p:nvGrpSpPr>
          <p:cNvPr id="30" name="Group 29">
            <a:extLst>
              <a:ext uri="{FF2B5EF4-FFF2-40B4-BE49-F238E27FC236}">
                <a16:creationId xmlns:a16="http://schemas.microsoft.com/office/drawing/2014/main" id="{A0E26DE9-E717-A84D-B0C4-9053EBE19F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9649"/>
            <a:ext cx="11851251" cy="5338782"/>
            <a:chOff x="-14169" y="506202"/>
            <a:chExt cx="11851251" cy="5338782"/>
          </a:xfrm>
          <a:solidFill>
            <a:schemeClr val="bg1"/>
          </a:solidFill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D29C28D-14ED-B84E-8E53-A6BB8329DEDB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89AA42A9-15FB-6749-AE69-FC1D7B7168F3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  <a:grpFill/>
          </p:grpSpPr>
          <p:sp>
            <p:nvSpPr>
              <p:cNvPr id="33" name="Rectangle 32">
                <a:extLst>
                  <a:ext uri="{FF2B5EF4-FFF2-40B4-BE49-F238E27FC236}">
                    <a16:creationId xmlns:a16="http://schemas.microsoft.com/office/drawing/2014/main" id="{62B22248-2D53-E247-AA3F-ED2E1D124D64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4" name="Rectangle 33">
                <a:extLst>
                  <a:ext uri="{FF2B5EF4-FFF2-40B4-BE49-F238E27FC236}">
                    <a16:creationId xmlns:a16="http://schemas.microsoft.com/office/drawing/2014/main" id="{CF1BFD95-5698-FF43-AD20-66576A3F3D3A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5" name="Rectangle 34">
                <a:extLst>
                  <a:ext uri="{FF2B5EF4-FFF2-40B4-BE49-F238E27FC236}">
                    <a16:creationId xmlns:a16="http://schemas.microsoft.com/office/drawing/2014/main" id="{5A044FDD-50FA-1648-9457-EC05013947C0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6C32C9E-D401-6E48-9976-914E453C4AD3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grpFill/>
            </p:grpSpPr>
            <p:sp>
              <p:nvSpPr>
                <p:cNvPr id="38" name="Parallelogram 37">
                  <a:extLst>
                    <a:ext uri="{FF2B5EF4-FFF2-40B4-BE49-F238E27FC236}">
                      <a16:creationId xmlns:a16="http://schemas.microsoft.com/office/drawing/2014/main" id="{71008BFB-11BC-2542-8376-F7BB3B08D447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39" name="Parallelogram 38">
                  <a:extLst>
                    <a:ext uri="{FF2B5EF4-FFF2-40B4-BE49-F238E27FC236}">
                      <a16:creationId xmlns:a16="http://schemas.microsoft.com/office/drawing/2014/main" id="{BFC3B435-F175-C845-9FEA-61EBC171A2A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9E2D5033-F106-D542-AA2A-50FF984D99EF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1" name="pg">
            <a:extLst>
              <a:ext uri="{FF2B5EF4-FFF2-40B4-BE49-F238E27FC236}">
                <a16:creationId xmlns:a16="http://schemas.microsoft.com/office/drawing/2014/main" id="{C069C5FF-C4F5-3B4E-990A-A42FD42A45F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Subtitle">
            <a:extLst>
              <a:ext uri="{FF2B5EF4-FFF2-40B4-BE49-F238E27FC236}">
                <a16:creationId xmlns:a16="http://schemas.microsoft.com/office/drawing/2014/main" id="{E887DFBA-3B0F-FA44-9309-DD5EEEB5A3F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17B6EED-A51B-1508-D9E2-272A0FFC1A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3" name="Picture 22" descr="McGraw Hill red cube Logo">
            <a:extLst>
              <a:ext uri="{FF2B5EF4-FFF2-40B4-BE49-F238E27FC236}">
                <a16:creationId xmlns:a16="http://schemas.microsoft.com/office/drawing/2014/main" id="{044DDC38-FB28-EF4C-ADCF-A9C98CF649D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241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>
            <a:extLst>
              <a:ext uri="{FF2B5EF4-FFF2-40B4-BE49-F238E27FC236}">
                <a16:creationId xmlns:a16="http://schemas.microsoft.com/office/drawing/2014/main" id="{EEC6ED01-89A0-7B4E-84D8-3604A114E3B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238B502-8BAD-5248-B9DE-FB96A0F8687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17754"/>
            <a:ext cx="11851251" cy="5338782"/>
            <a:chOff x="-14169" y="506202"/>
            <a:chExt cx="11851251" cy="5338782"/>
          </a:xfrm>
        </p:grpSpPr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CA8C88DB-8810-E447-8A81-0F3785A8C157}"/>
                </a:ext>
              </a:extLst>
            </p:cNvPr>
            <p:cNvSpPr/>
            <p:nvPr userDrawn="1"/>
          </p:nvSpPr>
          <p:spPr>
            <a:xfrm rot="8100000">
              <a:off x="10845762" y="909016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282E3CE-BD2B-6340-900F-B2BA9F83F177}"/>
                </a:ext>
              </a:extLst>
            </p:cNvPr>
            <p:cNvGrpSpPr/>
            <p:nvPr userDrawn="1"/>
          </p:nvGrpSpPr>
          <p:grpSpPr>
            <a:xfrm>
              <a:off x="-14169" y="506202"/>
              <a:ext cx="11851251" cy="5338782"/>
              <a:chOff x="-14169" y="506202"/>
              <a:chExt cx="11851251" cy="5338782"/>
            </a:xfrm>
          </p:grpSpPr>
          <p:sp>
            <p:nvSpPr>
              <p:cNvPr id="11" name="Rectangle 10">
                <a:extLst>
                  <a:ext uri="{FF2B5EF4-FFF2-40B4-BE49-F238E27FC236}">
                    <a16:creationId xmlns:a16="http://schemas.microsoft.com/office/drawing/2014/main" id="{D9A29EC1-CD07-CB4F-92F6-2FBF0D61BF1C}"/>
                  </a:ext>
                </a:extLst>
              </p:cNvPr>
              <p:cNvSpPr/>
              <p:nvPr userDrawn="1"/>
            </p:nvSpPr>
            <p:spPr>
              <a:xfrm>
                <a:off x="-14169" y="5620843"/>
                <a:ext cx="4538446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2" name="Rectangle 11">
                <a:extLst>
                  <a:ext uri="{FF2B5EF4-FFF2-40B4-BE49-F238E27FC236}">
                    <a16:creationId xmlns:a16="http://schemas.microsoft.com/office/drawing/2014/main" id="{43A07749-049F-F14B-A2DF-F987E7A19542}"/>
                  </a:ext>
                </a:extLst>
              </p:cNvPr>
              <p:cNvSpPr/>
              <p:nvPr userDrawn="1"/>
            </p:nvSpPr>
            <p:spPr>
              <a:xfrm rot="16200000">
                <a:off x="2360984" y="3679797"/>
                <a:ext cx="4096587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3" name="Rectangle 12">
                <a:extLst>
                  <a:ext uri="{FF2B5EF4-FFF2-40B4-BE49-F238E27FC236}">
                    <a16:creationId xmlns:a16="http://schemas.microsoft.com/office/drawing/2014/main" id="{BEB25190-E7AE-5641-B401-057448851CBD}"/>
                  </a:ext>
                </a:extLst>
              </p:cNvPr>
              <p:cNvSpPr/>
              <p:nvPr userDrawn="1"/>
            </p:nvSpPr>
            <p:spPr>
              <a:xfrm>
                <a:off x="4294278" y="1746503"/>
                <a:ext cx="6843541" cy="224141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grpSp>
            <p:nvGrpSpPr>
              <p:cNvPr id="16" name="Group 15">
                <a:extLst>
                  <a:ext uri="{FF2B5EF4-FFF2-40B4-BE49-F238E27FC236}">
                    <a16:creationId xmlns:a16="http://schemas.microsoft.com/office/drawing/2014/main" id="{DF062EBD-C107-A945-A796-8FBA20908D1F}"/>
                  </a:ext>
                </a:extLst>
              </p:cNvPr>
              <p:cNvGrpSpPr/>
              <p:nvPr userDrawn="1"/>
            </p:nvGrpSpPr>
            <p:grpSpPr>
              <a:xfrm>
                <a:off x="10907820" y="506202"/>
                <a:ext cx="929262" cy="929262"/>
                <a:chOff x="10912844" y="507347"/>
                <a:chExt cx="929262" cy="929262"/>
              </a:xfrm>
              <a:solidFill>
                <a:srgbClr val="E21A23"/>
              </a:solidFill>
            </p:grpSpPr>
            <p:sp>
              <p:nvSpPr>
                <p:cNvPr id="17" name="Parallelogram 16">
                  <a:extLst>
                    <a:ext uri="{FF2B5EF4-FFF2-40B4-BE49-F238E27FC236}">
                      <a16:creationId xmlns:a16="http://schemas.microsoft.com/office/drawing/2014/main" id="{F6133709-CC2E-AD4D-B22A-55D6A67BD879}"/>
                    </a:ext>
                  </a:extLst>
                </p:cNvPr>
                <p:cNvSpPr/>
                <p:nvPr userDrawn="1"/>
              </p:nvSpPr>
              <p:spPr>
                <a:xfrm>
                  <a:off x="10912844" y="508806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18" name="Parallelogram 17">
                  <a:extLst>
                    <a:ext uri="{FF2B5EF4-FFF2-40B4-BE49-F238E27FC236}">
                      <a16:creationId xmlns:a16="http://schemas.microsoft.com/office/drawing/2014/main" id="{3D135569-176F-D34C-B1AA-FC3F2A4245B6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11261504" y="859182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sp>
            <p:nvSpPr>
              <p:cNvPr id="20" name="Rectangle 19">
                <a:extLst>
                  <a:ext uri="{FF2B5EF4-FFF2-40B4-BE49-F238E27FC236}">
                    <a16:creationId xmlns:a16="http://schemas.microsoft.com/office/drawing/2014/main" id="{08783BD0-5800-864A-85E4-A5FA8CDECACD}"/>
                  </a:ext>
                </a:extLst>
              </p:cNvPr>
              <p:cNvSpPr/>
              <p:nvPr userDrawn="1"/>
            </p:nvSpPr>
            <p:spPr>
              <a:xfrm rot="16200000">
                <a:off x="10675931" y="1508754"/>
                <a:ext cx="693779" cy="229998"/>
              </a:xfrm>
              <a:prstGeom prst="rect">
                <a:avLst/>
              </a:prstGeom>
              <a:solidFill>
                <a:srgbClr val="E21A2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092AABA7-D5EC-3E42-92EF-22F71D9466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524277" y="1984089"/>
            <a:ext cx="7667723" cy="387244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Pg">
            <a:extLst>
              <a:ext uri="{FF2B5EF4-FFF2-40B4-BE49-F238E27FC236}">
                <a16:creationId xmlns:a16="http://schemas.microsoft.com/office/drawing/2014/main" id="{74E6E17B-B3EE-D24B-8186-59427D04F31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316A894F-484A-204F-ABA7-30CBA739C3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01477" y="4700419"/>
            <a:ext cx="1893455" cy="31273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32B211AD-4A3A-0F47-97B5-BEA7151AAB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36483" y="3946181"/>
            <a:ext cx="6338254" cy="555787"/>
          </a:xfrm>
        </p:spPr>
        <p:txBody>
          <a:bodyPr>
            <a:normAutofit/>
          </a:bodyPr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26" name="Picture 25" descr="McGraw Hill red cube Logo">
            <a:extLst>
              <a:ext uri="{FF2B5EF4-FFF2-40B4-BE49-F238E27FC236}">
                <a16:creationId xmlns:a16="http://schemas.microsoft.com/office/drawing/2014/main" id="{A18E319A-A3FF-CB41-AC94-68C78BF6DA8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2872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3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6BC6A701-16E4-384A-B480-07F21A4EB64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3" name="Headline 2">
            <a:extLst>
              <a:ext uri="{FF2B5EF4-FFF2-40B4-BE49-F238E27FC236}">
                <a16:creationId xmlns:a16="http://schemas.microsoft.com/office/drawing/2014/main" id="{5F149B35-BE87-6D4B-A76F-EE326743B20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8AAD9075-C0FD-4F01-4CCF-5A2EB367446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0A8ABF64-91D8-2F48-97D4-73DC521F41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0883309-70D3-0340-B14E-BE30AF3BDB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954877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6D0734D5-ECCE-EE43-AEEC-6D640277C70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B65D06A-C660-304A-BF51-E53969C245E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A407A57A-3991-234C-BB4D-C76AA722410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7613E3-528C-4B48-962F-218DA3062E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D147B5A1-6770-244F-90F9-39C7D7B4ED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A4341A4-E791-D44E-AC57-83B8D4678A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8412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1550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200" cy="61314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5E1BBCE-1234-3F43-9A61-5DFC3A3C1E1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A78ABDEE-3F66-9544-9A11-A8EE097D130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459054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indent="-285750">
              <a:lnSpc>
                <a:spcPct val="100000"/>
              </a:lnSpc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endParaRPr lang="en-US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C129857A-4191-9E44-B536-ECD8F78696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D50FC85D-27CD-FF4D-8BFA-DF4E67E5B43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799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092D0355-EC65-A840-8C46-2F2D005A4B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F5827C1-94DC-5940-A85A-10CDA96F28B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9213483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481580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909D505E-311A-9742-9802-6BA20700E6E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3E5E1A-83D6-C743-AA00-2266C72F07C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6000" y="723900"/>
            <a:ext cx="6096000" cy="61341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2" name="Column 1">
            <a:extLst>
              <a:ext uri="{FF2B5EF4-FFF2-40B4-BE49-F238E27FC236}">
                <a16:creationId xmlns:a16="http://schemas.microsoft.com/office/drawing/2014/main" id="{84811588-2F3A-374E-A3FD-346248EA134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1435" y="2248300"/>
            <a:ext cx="4647804" cy="429260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We do not advise to change color and size of font from what is displayed to abide by accessibility guidance. 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marL="285750" marR="0" lvl="0" indent="-285750" algn="l" defTabSz="914400" rtl="0" eaLnBrk="1" fontAlgn="auto" latinLnBrk="0" hangingPunct="1">
              <a:lnSpc>
                <a:spcPts val="196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 sed diam.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BA93A090-B6E4-C645-ACB7-BA8B5BBC56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9BB60C-87AB-3B4D-9FA6-2E22249D4D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230493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+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EA91B10F-EC0D-C943-A3BF-5EA4083470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2971799" y="728662"/>
            <a:ext cx="9220199" cy="61314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B24EE79-0614-1C44-9851-9AF8AE45475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7BE2A8A8-9F48-D340-BBE6-3CCC22FF302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06850" y="2305229"/>
            <a:ext cx="6359663" cy="3699165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/>
              <a:t>We do not advise to change color and size of font from what is displayed to abide by accessibility guidance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amet, consectetuer adipiscing elit, sed diam 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ip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odo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quat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 nibh euismod tincidunt ut laoreet dolore magna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rat volutpat. Ut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6C2F877-471D-F64A-908A-B18F178596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06850" y="1404902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08187EC-ADB8-8D41-852E-6A8DD6FB361D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728663"/>
            <a:ext cx="2971800" cy="61293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83F9BD00-9860-B24B-A115-ADCF1F873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7715F7-79AE-4445-BAD3-85182EECDA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2596699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op Nav">
            <a:extLst>
              <a:ext uri="{FF2B5EF4-FFF2-40B4-BE49-F238E27FC236}">
                <a16:creationId xmlns:a16="http://schemas.microsoft.com/office/drawing/2014/main" id="{5FF64314-768A-094E-8D3E-792A346992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C4D0ECBF-4E72-77E1-6744-5633305B89F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06282726-7744-71C7-52A7-0E097341F0F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Headline 2">
            <a:extLst>
              <a:ext uri="{FF2B5EF4-FFF2-40B4-BE49-F238E27FC236}">
                <a16:creationId xmlns:a16="http://schemas.microsoft.com/office/drawing/2014/main" id="{3B9320FD-ECFE-2547-B24C-41807BE745F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26A6B253-D5CC-3F6C-B9F3-19D60636686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6E612916-D698-B646-8E99-73538FEC08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4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hapter Title">
            <a:extLst>
              <a:ext uri="{FF2B5EF4-FFF2-40B4-BE49-F238E27FC236}">
                <a16:creationId xmlns:a16="http://schemas.microsoft.com/office/drawing/2014/main" id="{3B15BE9E-15AB-6248-BC6C-65FA9B4190C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7D7113C-B06C-114F-9BC4-D9927D5EDD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5070160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877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 – Text Heav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4068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Path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Top Nav">
            <a:extLst>
              <a:ext uri="{FF2B5EF4-FFF2-40B4-BE49-F238E27FC236}">
                <a16:creationId xmlns:a16="http://schemas.microsoft.com/office/drawing/2014/main" id="{B0DBB454-2923-D247-A793-2E1AD83EDC61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896931D-0790-784E-B4DB-8ED1ACF447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 flipH="1">
            <a:off x="1" y="3321724"/>
            <a:ext cx="12191998" cy="3027950"/>
            <a:chOff x="1" y="2621937"/>
            <a:chExt cx="12191998" cy="3027950"/>
          </a:xfrm>
        </p:grpSpPr>
        <p:grpSp>
          <p:nvGrpSpPr>
            <p:cNvPr id="39" name="Group 38">
              <a:extLst>
                <a:ext uri="{FF2B5EF4-FFF2-40B4-BE49-F238E27FC236}">
                  <a16:creationId xmlns:a16="http://schemas.microsoft.com/office/drawing/2014/main" id="{55043362-8F75-0745-A63A-7834495F8714}"/>
                </a:ext>
              </a:extLst>
            </p:cNvPr>
            <p:cNvGrpSpPr/>
            <p:nvPr userDrawn="1"/>
          </p:nvGrpSpPr>
          <p:grpSpPr>
            <a:xfrm>
              <a:off x="1" y="2621937"/>
              <a:ext cx="2001201" cy="233422"/>
              <a:chOff x="0" y="2656480"/>
              <a:chExt cx="9572617" cy="233422"/>
            </a:xfrm>
          </p:grpSpPr>
          <p:sp>
            <p:nvSpPr>
              <p:cNvPr id="40" name="Rectangle 39">
                <a:extLst>
                  <a:ext uri="{FF2B5EF4-FFF2-40B4-BE49-F238E27FC236}">
                    <a16:creationId xmlns:a16="http://schemas.microsoft.com/office/drawing/2014/main" id="{3E66ECAB-7133-AD4B-B0EE-28A4BEF04CAC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1" name="Rectangle 40">
                <a:extLst>
                  <a:ext uri="{FF2B5EF4-FFF2-40B4-BE49-F238E27FC236}">
                    <a16:creationId xmlns:a16="http://schemas.microsoft.com/office/drawing/2014/main" id="{1C11623C-AC1A-4A43-A565-9255506E6567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A8D16141-CCAB-0746-8535-98B2E101BCFA}"/>
                </a:ext>
              </a:extLst>
            </p:cNvPr>
            <p:cNvGrpSpPr/>
            <p:nvPr userDrawn="1"/>
          </p:nvGrpSpPr>
          <p:grpSpPr>
            <a:xfrm rot="5400000">
              <a:off x="428932" y="4077616"/>
              <a:ext cx="2911120" cy="233422"/>
              <a:chOff x="0" y="2656480"/>
              <a:chExt cx="9572617" cy="233422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952A5FA2-4E0D-C54C-BB84-BDD6D943E8D4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CC389AD1-AB5B-BD49-AB38-9B9B1604791E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969F282-EF38-FC40-905F-6E5D77FB9041}"/>
                </a:ext>
              </a:extLst>
            </p:cNvPr>
            <p:cNvGrpSpPr/>
            <p:nvPr userDrawn="1"/>
          </p:nvGrpSpPr>
          <p:grpSpPr>
            <a:xfrm>
              <a:off x="1884490" y="5416463"/>
              <a:ext cx="10307509" cy="233422"/>
              <a:chOff x="0" y="2656480"/>
              <a:chExt cx="9572617" cy="233422"/>
            </a:xfrm>
          </p:grpSpPr>
          <p:sp>
            <p:nvSpPr>
              <p:cNvPr id="46" name="Rectangle 45">
                <a:extLst>
                  <a:ext uri="{FF2B5EF4-FFF2-40B4-BE49-F238E27FC236}">
                    <a16:creationId xmlns:a16="http://schemas.microsoft.com/office/drawing/2014/main" id="{EFC2C7F0-EC9D-D44C-B4DD-06FE6C88E716}"/>
                  </a:ext>
                </a:extLst>
              </p:cNvPr>
              <p:cNvSpPr/>
              <p:nvPr userDrawn="1"/>
            </p:nvSpPr>
            <p:spPr>
              <a:xfrm>
                <a:off x="0" y="2656480"/>
                <a:ext cx="9572617" cy="116711"/>
              </a:xfrm>
              <a:prstGeom prst="rect">
                <a:avLst/>
              </a:prstGeom>
              <a:solidFill>
                <a:srgbClr val="06235B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7" name="Rectangle 46">
                <a:extLst>
                  <a:ext uri="{FF2B5EF4-FFF2-40B4-BE49-F238E27FC236}">
                    <a16:creationId xmlns:a16="http://schemas.microsoft.com/office/drawing/2014/main" id="{F7BDA258-0A0D-F741-9901-55DEAA79A460}"/>
                  </a:ext>
                </a:extLst>
              </p:cNvPr>
              <p:cNvSpPr/>
              <p:nvPr userDrawn="1"/>
            </p:nvSpPr>
            <p:spPr>
              <a:xfrm>
                <a:off x="0" y="2773191"/>
                <a:ext cx="9572617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3F5B8D5-712F-414E-A26F-6FA978D44C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D7037DB2-618C-FC4F-9EF6-9DD3982345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48" name="Pg">
            <a:extLst>
              <a:ext uri="{FF2B5EF4-FFF2-40B4-BE49-F238E27FC236}">
                <a16:creationId xmlns:a16="http://schemas.microsoft.com/office/drawing/2014/main" id="{75E0C428-3E02-FA42-99AF-95E6B1BE253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D785BAF5-3D1A-EB44-9381-2C704C2238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7450" y="958960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0" name="01">
            <a:extLst>
              <a:ext uri="{FF2B5EF4-FFF2-40B4-BE49-F238E27FC236}">
                <a16:creationId xmlns:a16="http://schemas.microsoft.com/office/drawing/2014/main" id="{C7460D23-DB38-E34B-9711-F933BB9213C1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50351" y="181383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" name="Headline 1">
            <a:extLst>
              <a:ext uri="{FF2B5EF4-FFF2-40B4-BE49-F238E27FC236}">
                <a16:creationId xmlns:a16="http://schemas.microsoft.com/office/drawing/2014/main" id="{8E9BAA1C-DF88-B445-9BDF-5E8FB00ADB6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199197" y="1813832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50" name="Copy 1">
            <a:extLst>
              <a:ext uri="{FF2B5EF4-FFF2-40B4-BE49-F238E27FC236}">
                <a16:creationId xmlns:a16="http://schemas.microsoft.com/office/drawing/2014/main" id="{238D5C13-6BC6-864C-852E-088734E0F5B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212671" y="2265940"/>
            <a:ext cx="4241637" cy="420650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>
              <a:spcBef>
                <a:spcPts val="1200"/>
              </a:spcBef>
            </a:pPr>
            <a:r>
              <a:rPr lang="en-US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</p:txBody>
      </p:sp>
      <p:sp>
        <p:nvSpPr>
          <p:cNvPr id="33" name="02">
            <a:extLst>
              <a:ext uri="{FF2B5EF4-FFF2-40B4-BE49-F238E27FC236}">
                <a16:creationId xmlns:a16="http://schemas.microsoft.com/office/drawing/2014/main" id="{502F8C79-77C0-5C48-867D-B292CA3E5A1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57450" y="3291803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32" name="Headline 2">
            <a:extLst>
              <a:ext uri="{FF2B5EF4-FFF2-40B4-BE49-F238E27FC236}">
                <a16:creationId xmlns:a16="http://schemas.microsoft.com/office/drawing/2014/main" id="{1217D55F-AC99-6C4B-A91A-B525B2F82D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06296" y="3291803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69" name="Copy 2">
            <a:extLst>
              <a:ext uri="{FF2B5EF4-FFF2-40B4-BE49-F238E27FC236}">
                <a16:creationId xmlns:a16="http://schemas.microsoft.com/office/drawing/2014/main" id="{6B38AE9F-747B-2849-9A2B-8E78114D04B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199196" y="3698521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36" name="03">
            <a:extLst>
              <a:ext uri="{FF2B5EF4-FFF2-40B4-BE49-F238E27FC236}">
                <a16:creationId xmlns:a16="http://schemas.microsoft.com/office/drawing/2014/main" id="{8C7E74A7-FBB4-F44D-9FD3-F3C86CE25C9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8563" y="4758717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8" name="Headline 3">
            <a:extLst>
              <a:ext uri="{FF2B5EF4-FFF2-40B4-BE49-F238E27FC236}">
                <a16:creationId xmlns:a16="http://schemas.microsoft.com/office/drawing/2014/main" id="{A5C9EDD8-7B5C-B14B-A1FE-E4BC3B6F3C0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06296" y="4752591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70" name="Copy 3">
            <a:extLst>
              <a:ext uri="{FF2B5EF4-FFF2-40B4-BE49-F238E27FC236}">
                <a16:creationId xmlns:a16="http://schemas.microsoft.com/office/drawing/2014/main" id="{C2895A15-FE9A-7A4F-8035-F76C77E050E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212671" y="5182326"/>
            <a:ext cx="4241637" cy="928822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u</a:t>
            </a:r>
            <a:r>
              <a:rPr lang="en-US"/>
              <a:t> </a:t>
            </a:r>
            <a:r>
              <a:rPr lang="en-US" err="1"/>
              <a:t>timeam</a:t>
            </a:r>
            <a:r>
              <a:rPr lang="en-US"/>
              <a:t> </a:t>
            </a:r>
            <a:r>
              <a:rPr lang="en-US" err="1"/>
              <a:t>molestie</a:t>
            </a:r>
            <a:r>
              <a:rPr lang="en-US"/>
              <a:t> </a:t>
            </a:r>
            <a:r>
              <a:rPr lang="en-US" err="1"/>
              <a:t>pri</a:t>
            </a:r>
            <a:r>
              <a:rPr lang="en-US"/>
              <a:t>, </a:t>
            </a:r>
            <a:r>
              <a:rPr lang="en-US" err="1"/>
              <a:t>nec</a:t>
            </a:r>
            <a:r>
              <a:rPr lang="en-US"/>
              <a:t> </a:t>
            </a:r>
            <a:r>
              <a:rPr lang="en-US" err="1"/>
              <a:t>solet</a:t>
            </a:r>
            <a:r>
              <a:rPr lang="en-US"/>
              <a:t> </a:t>
            </a:r>
            <a:r>
              <a:rPr lang="en-US" err="1"/>
              <a:t>convenire</a:t>
            </a:r>
            <a:r>
              <a:rPr lang="en-US"/>
              <a:t> ex. Sea </a:t>
            </a:r>
            <a:r>
              <a:rPr lang="en-US" err="1"/>
              <a:t>mollis</a:t>
            </a:r>
            <a:r>
              <a:rPr lang="en-US"/>
              <a:t> </a:t>
            </a:r>
            <a:r>
              <a:rPr lang="en-US" err="1"/>
              <a:t>pertinax</a:t>
            </a:r>
            <a:r>
              <a:rPr lang="en-US"/>
              <a:t> </a:t>
            </a:r>
            <a:r>
              <a:rPr lang="en-US" err="1"/>
              <a:t>assentior</a:t>
            </a:r>
            <a:r>
              <a:rPr lang="en-US"/>
              <a:t> </a:t>
            </a:r>
            <a:r>
              <a:rPr lang="en-US" err="1"/>
              <a:t>ea</a:t>
            </a:r>
            <a:r>
              <a:rPr lang="en-US"/>
              <a:t>, vim.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C093DB3-273B-AF41-9798-B6C4095D961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935788" y="1746250"/>
            <a:ext cx="4148137" cy="511175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459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op Nav">
            <a:extLst>
              <a:ext uri="{FF2B5EF4-FFF2-40B4-BE49-F238E27FC236}">
                <a16:creationId xmlns:a16="http://schemas.microsoft.com/office/drawing/2014/main" id="{4F65DF74-35BF-374C-8CF0-E5D7AB09DDE3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613287A0-C8FD-6449-8310-14600C68CD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0" y="3321723"/>
            <a:ext cx="12192000" cy="3027951"/>
            <a:chOff x="0" y="2621937"/>
            <a:chExt cx="12192000" cy="3027951"/>
          </a:xfrm>
          <a:solidFill>
            <a:schemeClr val="accent1"/>
          </a:solidFill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A87DFCB-27DE-CA43-932D-377A4B7A96E8}"/>
                </a:ext>
              </a:extLst>
            </p:cNvPr>
            <p:cNvSpPr/>
            <p:nvPr userDrawn="1"/>
          </p:nvSpPr>
          <p:spPr>
            <a:xfrm>
              <a:off x="0" y="2621937"/>
              <a:ext cx="1821468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EF4C1B40-A6DC-E140-A12A-4D94A2DA9CA4}"/>
                </a:ext>
              </a:extLst>
            </p:cNvPr>
            <p:cNvSpPr/>
            <p:nvPr userDrawn="1"/>
          </p:nvSpPr>
          <p:spPr>
            <a:xfrm rot="5400000">
              <a:off x="372227" y="4020914"/>
              <a:ext cx="3027951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3F788E9F-4D6F-FC49-AFFB-0DB170A87861}"/>
                </a:ext>
              </a:extLst>
            </p:cNvPr>
            <p:cNvSpPr/>
            <p:nvPr userDrawn="1"/>
          </p:nvSpPr>
          <p:spPr>
            <a:xfrm>
              <a:off x="1810327" y="5419887"/>
              <a:ext cx="10381673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D26904-2D64-A041-AED1-1566B3F825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9A5F8572-960D-D448-90C2-B30ED42846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48342CED-001C-AD48-8427-D341DEBD80C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5B0E7CBC-867F-A54C-812D-51EB02B0D0D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04895" y="958960"/>
            <a:ext cx="4796859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38" name="01">
            <a:extLst>
              <a:ext uri="{FF2B5EF4-FFF2-40B4-BE49-F238E27FC236}">
                <a16:creationId xmlns:a16="http://schemas.microsoft.com/office/drawing/2014/main" id="{4DD26A78-8BCB-B24A-B98B-D3C5C720142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697796" y="1718735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37" name="Headline 1">
            <a:extLst>
              <a:ext uri="{FF2B5EF4-FFF2-40B4-BE49-F238E27FC236}">
                <a16:creationId xmlns:a16="http://schemas.microsoft.com/office/drawing/2014/main" id="{F77579FA-E0A6-BE4E-B83A-0F7305BA495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246642" y="1718735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39" name="Copy 1">
            <a:extLst>
              <a:ext uri="{FF2B5EF4-FFF2-40B4-BE49-F238E27FC236}">
                <a16:creationId xmlns:a16="http://schemas.microsoft.com/office/drawing/2014/main" id="{2388C246-4C64-A44F-961B-615B097BA7B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53018" y="2156391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do not advise to change color and size of font from what is displayed to abide by accessibility guidance. 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1" name="02">
            <a:extLst>
              <a:ext uri="{FF2B5EF4-FFF2-40B4-BE49-F238E27FC236}">
                <a16:creationId xmlns:a16="http://schemas.microsoft.com/office/drawing/2014/main" id="{830944A2-8584-BC4A-92AA-32D0B4464AF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04895" y="3196706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40" name="Headline 2">
            <a:extLst>
              <a:ext uri="{FF2B5EF4-FFF2-40B4-BE49-F238E27FC236}">
                <a16:creationId xmlns:a16="http://schemas.microsoft.com/office/drawing/2014/main" id="{FDD69F5D-AB79-3845-A6F2-385D5C5B1BD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53741" y="3196706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2" name="Copy 2">
            <a:extLst>
              <a:ext uri="{FF2B5EF4-FFF2-40B4-BE49-F238E27FC236}">
                <a16:creationId xmlns:a16="http://schemas.microsoft.com/office/drawing/2014/main" id="{3D89D222-7622-9044-A731-85FC8011D9A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60117" y="3634362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3" name="03">
            <a:extLst>
              <a:ext uri="{FF2B5EF4-FFF2-40B4-BE49-F238E27FC236}">
                <a16:creationId xmlns:a16="http://schemas.microsoft.com/office/drawing/2014/main" id="{A0717EC4-4CFA-3746-A443-E79E29767C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06008" y="4654382"/>
            <a:ext cx="548845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45" name="Headline 3">
            <a:extLst>
              <a:ext uri="{FF2B5EF4-FFF2-40B4-BE49-F238E27FC236}">
                <a16:creationId xmlns:a16="http://schemas.microsoft.com/office/drawing/2014/main" id="{0D57046F-F33F-6840-BE9B-EAD06F2C968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253741" y="4657494"/>
            <a:ext cx="3033712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/>
            </a:lvl1pPr>
          </a:lstStyle>
          <a:p>
            <a:pPr lvl="0"/>
            <a:r>
              <a:rPr lang="en-US"/>
              <a:t>Headline</a:t>
            </a:r>
          </a:p>
        </p:txBody>
      </p:sp>
      <p:sp>
        <p:nvSpPr>
          <p:cNvPr id="44" name="Copy 3">
            <a:extLst>
              <a:ext uri="{FF2B5EF4-FFF2-40B4-BE49-F238E27FC236}">
                <a16:creationId xmlns:a16="http://schemas.microsoft.com/office/drawing/2014/main" id="{4F9721F3-9853-5247-BD5C-9420E958AD3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261230" y="5092596"/>
            <a:ext cx="4241637" cy="3587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0"/>
            </a:lvl1pPr>
          </a:lstStyle>
          <a:p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am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esti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let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venire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ex. Sea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llis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tinax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sentior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a</a:t>
            </a:r>
            <a:r>
              <a:rPr lang="en-US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vim.</a:t>
            </a:r>
          </a:p>
          <a:p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C6DB3A7-20E0-684E-9A74-A2BF27E7FB5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1069975" y="1373188"/>
            <a:ext cx="4438650" cy="548481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196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9255815" y="757008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EB06EC3-1936-BF49-B989-AE8ADD23132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E3F328E6-25F0-BD44-A497-CAA2D0BA73DA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4B12A726-D813-1B48-A198-EE44A52DA9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0" name="Column 1">
            <a:extLst>
              <a:ext uri="{FF2B5EF4-FFF2-40B4-BE49-F238E27FC236}">
                <a16:creationId xmlns:a16="http://schemas.microsoft.com/office/drawing/2014/main" id="{A6CC86E6-0270-1A46-AD68-EA5815E0155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7" name="Column 2">
            <a:extLst>
              <a:ext uri="{FF2B5EF4-FFF2-40B4-BE49-F238E27FC236}">
                <a16:creationId xmlns:a16="http://schemas.microsoft.com/office/drawing/2014/main" id="{1658EE3A-E60D-054C-BC6C-D3AC430DED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52836D77-0D00-81FC-192F-18388A3072B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9771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with Imag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9F3E537-3F47-CF42-9252-F6DE9E8EFAA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467" y="0"/>
            <a:ext cx="12187066" cy="685800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5B3A0F1F-6CC0-9C4A-B3F4-21446A21E2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507347"/>
            <a:ext cx="11851251" cy="5142543"/>
            <a:chOff x="-14169" y="507347"/>
            <a:chExt cx="11851251" cy="5142543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rgbClr val="E21A23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solidFill>
              <a:srgbClr val="E21A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2" name="Rectangle 31">
            <a:extLst>
              <a:ext uri="{FF2B5EF4-FFF2-40B4-BE49-F238E27FC236}">
                <a16:creationId xmlns:a16="http://schemas.microsoft.com/office/drawing/2014/main" id="{B842EDC8-9FFB-2849-A229-4E95F1FA8F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874" cy="923533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D4F1E58E-5201-7248-9458-9D353017EE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bg1"/>
          </a:solidFill>
          <a:ln w="9525">
            <a:solidFill>
              <a:srgbClr val="DBDBDB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BCEB94A7-64EA-3C44-B1A7-F2BF742D98D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33204" y="2830679"/>
            <a:ext cx="3121683" cy="4027321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Numeral Date">
            <a:extLst>
              <a:ext uri="{FF2B5EF4-FFF2-40B4-BE49-F238E27FC236}">
                <a16:creationId xmlns:a16="http://schemas.microsoft.com/office/drawing/2014/main" id="{EAEF7B50-2449-3847-A9B3-BC55E2EFB2D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Name &amp; Surname">
            <a:extLst>
              <a:ext uri="{FF2B5EF4-FFF2-40B4-BE49-F238E27FC236}">
                <a16:creationId xmlns:a16="http://schemas.microsoft.com/office/drawing/2014/main" id="{1BE2989A-80FF-6748-9A18-6CF1DD0939C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347901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41" name="Subtitle">
            <a:extLst>
              <a:ext uri="{FF2B5EF4-FFF2-40B4-BE49-F238E27FC236}">
                <a16:creationId xmlns:a16="http://schemas.microsoft.com/office/drawing/2014/main" id="{89FF4802-A4D3-434E-9424-1B51794D3F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4BE9A612-EC57-864B-AADF-3B43A50F46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31" name="Picture 30" descr="McGraw Hill red cube Logo">
            <a:extLst>
              <a:ext uri="{FF2B5EF4-FFF2-40B4-BE49-F238E27FC236}">
                <a16:creationId xmlns:a16="http://schemas.microsoft.com/office/drawing/2014/main" id="{EFEC87DA-795E-124E-97B1-9468E0ABCD0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95195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A4BC28C6-8794-0A47-ABCE-C7FC96D39E4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2102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BFB1D6C-A7E9-F346-8A13-0BCB15719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D679B90A-4AB2-E64F-865B-31FA7A647B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2734AE8A-25C0-5A40-8DCA-827143D8939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5F695EBD-4DD2-D94C-8FE6-3BC8F009DD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53D7C1F0-4FF6-6146-83A3-619E9E7425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8D628D98-2995-2549-8BEB-B242D876BA3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89F8ED53-76E5-D34E-AF57-48AB3FD4503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CE6948A-A3B1-F139-AEDB-5E631C58B4F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CC836EA3-0289-2F4F-9CCE-4C8FA98EA37D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49693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F91159E-FB61-BD47-87D0-43DD404B051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0EC23C69-26E3-854A-8AEA-45792C9D8A6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3E7B488B-7F58-E041-8E34-0A5108AC4422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950784B-C4DC-1048-8DB0-FBA0B7ED9C5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3C493DB4-6E5A-0A49-B823-5D376D9C9E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6" name="Column 1">
            <a:extLst>
              <a:ext uri="{FF2B5EF4-FFF2-40B4-BE49-F238E27FC236}">
                <a16:creationId xmlns:a16="http://schemas.microsoft.com/office/drawing/2014/main" id="{8328127D-150E-B44E-BC89-0FD65043CCF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6906905-9636-614B-830C-DF2EEB425ED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E4EC68AE-8387-1A40-2D4A-2C57F3A6FB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9F580762-E4FC-D041-AD65-42DCA22C0A8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17399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_with Image +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D9FC49DD-4F8B-CF98-C24E-3D77881819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219950" y="1203325"/>
            <a:ext cx="4383088" cy="56546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4728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B2C9B86-2BA7-2C49-9B52-F95410DF704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305E351-B915-BD4D-A104-CE8A78E877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46F47BCD-2606-6446-B953-7EA51944FC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B9889367-1837-7547-8ADE-81B765558950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B1670CB5-F520-4F4E-9416-10F61C1776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B923205D-6211-744A-A7D6-56BDC295849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22814ED1-29B4-164D-A3B2-0C0FCADE43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97E1AD9F-2EE3-7442-9BF2-6F9AFDC280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6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4569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952B30F-DA32-BD48-A150-841D2CC200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800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FC14102-5D1F-CC47-96A6-0F8B125B3B14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FE7CC563-C876-8D49-9C67-CE4C3C65E64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30E17DB6-2150-0D46-8340-D3581FF40EC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4DD5738-B9A4-D446-8B86-A0199FBA6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31A62204-B7CF-0F47-9302-76117502529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C4D93840-F4DD-B843-BC4B-8AF7F98AB04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A2CB17AE-D121-8144-B913-2A0997DF2C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2722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7BC90947-9FBD-3B47-AE88-71E04E581357}"/>
              </a:ext>
            </a:extLst>
          </p:cNvPr>
          <p:cNvSpPr/>
          <p:nvPr userDrawn="1"/>
        </p:nvSpPr>
        <p:spPr>
          <a:xfrm>
            <a:off x="9144091" y="745340"/>
            <a:ext cx="3047910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93E3DBC-5438-6E46-92A8-F6F9A5B2B24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601147" y="1366154"/>
            <a:ext cx="2133799" cy="4871033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BA38B5C-C304-CF4C-9CE1-76463371571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9" name="Chapter Title">
            <a:extLst>
              <a:ext uri="{FF2B5EF4-FFF2-40B4-BE49-F238E27FC236}">
                <a16:creationId xmlns:a16="http://schemas.microsoft.com/office/drawing/2014/main" id="{9E4B0D1D-604E-5845-A559-76143769A4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0B370684-59CB-9D48-9E3B-4A19CF85F57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BEA7924-9977-A944-8820-5611CD6A1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E9167E63-18F2-B54A-93ED-51E4F364ED7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7" name="Column 1">
            <a:extLst>
              <a:ext uri="{FF2B5EF4-FFF2-40B4-BE49-F238E27FC236}">
                <a16:creationId xmlns:a16="http://schemas.microsoft.com/office/drawing/2014/main" id="{9D45D5EF-D30C-1D4E-8C2E-CA2D9F7AD45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8" name="Column 2">
            <a:extLst>
              <a:ext uri="{FF2B5EF4-FFF2-40B4-BE49-F238E27FC236}">
                <a16:creationId xmlns:a16="http://schemas.microsoft.com/office/drawing/2014/main" id="{364274DE-F93B-234F-80D3-BADE92110F0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9098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_with Copy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13EAB6-5661-494B-97BE-877A284174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9255815" y="739079"/>
            <a:ext cx="2936185" cy="611892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0330DBB1-932C-514D-8370-049DD406AE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</a:blip>
          <a:stretch>
            <a:fillRect/>
          </a:stretch>
        </p:blipFill>
        <p:spPr>
          <a:xfrm>
            <a:off x="9601147" y="1366154"/>
            <a:ext cx="2133798" cy="4871033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1E28115-1F17-E042-B158-958DD79574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ED2A3636-75CE-1E42-9B3A-DAFCDFF373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3" name="Pg">
            <a:extLst>
              <a:ext uri="{FF2B5EF4-FFF2-40B4-BE49-F238E27FC236}">
                <a16:creationId xmlns:a16="http://schemas.microsoft.com/office/drawing/2014/main" id="{26B4EDE0-F23F-9C40-8DBC-AA1DE963BC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5DFC7AE-4EDA-5449-A40C-2DC74991B0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347619"/>
            <a:ext cx="2942212" cy="748230"/>
          </a:xfrm>
        </p:spPr>
        <p:txBody>
          <a:bodyPr/>
          <a:lstStyle/>
          <a:p>
            <a:r>
              <a:rPr lang="en-US"/>
              <a:t>Click to edit </a:t>
            </a:r>
            <a:br>
              <a:rPr lang="en-US"/>
            </a:br>
            <a:r>
              <a:rPr lang="en-US"/>
              <a:t>Slide Title</a:t>
            </a:r>
          </a:p>
        </p:txBody>
      </p:sp>
      <p:sp>
        <p:nvSpPr>
          <p:cNvPr id="10" name="Body Text">
            <a:extLst>
              <a:ext uri="{FF2B5EF4-FFF2-40B4-BE49-F238E27FC236}">
                <a16:creationId xmlns:a16="http://schemas.microsoft.com/office/drawing/2014/main" id="{132F1372-CD64-C741-83C2-B72000439FE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94795" y="2242522"/>
            <a:ext cx="6888419" cy="15884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14" name="Column 1">
            <a:extLst>
              <a:ext uri="{FF2B5EF4-FFF2-40B4-BE49-F238E27FC236}">
                <a16:creationId xmlns:a16="http://schemas.microsoft.com/office/drawing/2014/main" id="{733B5D7A-D46F-EE40-98CC-40E79D9F65C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75037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Column 2">
            <a:extLst>
              <a:ext uri="{FF2B5EF4-FFF2-40B4-BE49-F238E27FC236}">
                <a16:creationId xmlns:a16="http://schemas.microsoft.com/office/drawing/2014/main" id="{B1FAC4E9-985E-3F49-8B63-05362E7E7E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959492" y="4153055"/>
            <a:ext cx="2933700" cy="2196619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90017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01 - Cover Slide -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25C50BE7-02B9-E94F-82D1-CA65C5808638}"/>
              </a:ext>
            </a:extLst>
          </p:cNvPr>
          <p:cNvSpPr/>
          <p:nvPr userDrawn="1"/>
        </p:nvSpPr>
        <p:spPr>
          <a:xfrm>
            <a:off x="0" y="-1"/>
            <a:ext cx="12192000" cy="6860093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  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FEC3F10-5F67-304B-8825-308AD531C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934" y="0"/>
            <a:ext cx="12187066" cy="6858000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C58AD3BE-D6CF-A64B-8811-9A8A9093BA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362867" y="-3"/>
            <a:ext cx="11734660" cy="6349157"/>
            <a:chOff x="362867" y="-3"/>
            <a:chExt cx="11734660" cy="6349157"/>
          </a:xfrm>
        </p:grpSpPr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0D9449F4-DDDA-2940-AC8E-5A8EB963E028}"/>
                </a:ext>
              </a:extLst>
            </p:cNvPr>
            <p:cNvSpPr/>
            <p:nvPr/>
          </p:nvSpPr>
          <p:spPr>
            <a:xfrm>
              <a:off x="362867" y="6136112"/>
              <a:ext cx="10780357" cy="21304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39977B72-DEEB-B642-B055-A1FC830C6F22}"/>
                </a:ext>
              </a:extLst>
            </p:cNvPr>
            <p:cNvSpPr/>
            <p:nvPr/>
          </p:nvSpPr>
          <p:spPr>
            <a:xfrm rot="16200000">
              <a:off x="9515714" y="4721644"/>
              <a:ext cx="3025021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A49CCB56-97C4-D743-80FD-7AEEF01BDBA1}"/>
                </a:ext>
              </a:extLst>
            </p:cNvPr>
            <p:cNvSpPr/>
            <p:nvPr/>
          </p:nvSpPr>
          <p:spPr>
            <a:xfrm>
              <a:off x="9502377" y="3324133"/>
              <a:ext cx="1640847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Rectangle 39">
              <a:extLst>
                <a:ext uri="{FF2B5EF4-FFF2-40B4-BE49-F238E27FC236}">
                  <a16:creationId xmlns:a16="http://schemas.microsoft.com/office/drawing/2014/main" id="{6888F149-DAA2-B848-801A-FCC1422F3B96}"/>
                </a:ext>
              </a:extLst>
            </p:cNvPr>
            <p:cNvSpPr/>
            <p:nvPr/>
          </p:nvSpPr>
          <p:spPr>
            <a:xfrm rot="16200000">
              <a:off x="9188261" y="3004154"/>
              <a:ext cx="858236" cy="2300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DA3E8350-CB13-2444-ACBA-9CB24416579D}"/>
                </a:ext>
              </a:extLst>
            </p:cNvPr>
            <p:cNvGrpSpPr/>
            <p:nvPr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solidFill>
              <a:schemeClr val="bg1"/>
            </a:solidFill>
          </p:grpSpPr>
          <p:sp>
            <p:nvSpPr>
              <p:cNvPr id="35" name="Parallelogram 34">
                <a:extLst>
                  <a:ext uri="{FF2B5EF4-FFF2-40B4-BE49-F238E27FC236}">
                    <a16:creationId xmlns:a16="http://schemas.microsoft.com/office/drawing/2014/main" id="{54F2EC11-B068-3749-B697-AB996FFEBDD7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6" name="Parallelogram 35">
                <a:extLst>
                  <a:ext uri="{FF2B5EF4-FFF2-40B4-BE49-F238E27FC236}">
                    <a16:creationId xmlns:a16="http://schemas.microsoft.com/office/drawing/2014/main" id="{6D7DAAF6-5C60-8E42-8F56-8A59D01DAFF5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A3A0D68A-64DE-034D-A0D9-7DBB1C30BD44}"/>
                </a:ext>
              </a:extLst>
            </p:cNvPr>
            <p:cNvSpPr/>
            <p:nvPr/>
          </p:nvSpPr>
          <p:spPr>
            <a:xfrm rot="8100000">
              <a:off x="9147057" y="1613790"/>
              <a:ext cx="2950470" cy="22414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D427200B-3CEF-4543-AFE8-A349D401B181}"/>
                </a:ext>
              </a:extLst>
            </p:cNvPr>
            <p:cNvSpPr/>
            <p:nvPr userDrawn="1"/>
          </p:nvSpPr>
          <p:spPr>
            <a:xfrm rot="16200000">
              <a:off x="-2696712" y="3059577"/>
              <a:ext cx="6349157" cy="22999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44" name="Picture 43" descr="McGraw Hill red cube Logo">
            <a:extLst>
              <a:ext uri="{FF2B5EF4-FFF2-40B4-BE49-F238E27FC236}">
                <a16:creationId xmlns:a16="http://schemas.microsoft.com/office/drawing/2014/main" id="{AD397FEF-023D-054E-ACC9-0270E3770C3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0297" y="733856"/>
            <a:ext cx="701068" cy="701068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546F528F-8FD7-0046-8513-FB61348B375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4023448"/>
            <a:ext cx="5144767" cy="923533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FABC2A16-3F7C-3046-969E-5B8D87BD37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1070296" y="1436453"/>
            <a:ext cx="5144874" cy="2580258"/>
          </a:xfrm>
          <a:prstGeom prst="rect">
            <a:avLst/>
          </a:prstGeom>
          <a:solidFill>
            <a:schemeClr val="accent3"/>
          </a:solidFill>
          <a:ln w="9525">
            <a:solidFill>
              <a:srgbClr val="5F14C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2" name="Title 2">
            <a:extLst>
              <a:ext uri="{FF2B5EF4-FFF2-40B4-BE49-F238E27FC236}">
                <a16:creationId xmlns:a16="http://schemas.microsoft.com/office/drawing/2014/main" id="{518E6496-8922-7A41-B98C-68CD630298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92983" y="1605014"/>
            <a:ext cx="4831300" cy="142057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8" name="Subtitle">
            <a:extLst>
              <a:ext uri="{FF2B5EF4-FFF2-40B4-BE49-F238E27FC236}">
                <a16:creationId xmlns:a16="http://schemas.microsoft.com/office/drawing/2014/main" id="{C521F783-BD0D-4E45-AF8D-244BD4F7094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08087" y="3139278"/>
            <a:ext cx="4533631" cy="723986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 Sample 2 Lines Lorem Ipsum Dolore</a:t>
            </a:r>
          </a:p>
        </p:txBody>
      </p:sp>
      <p:sp>
        <p:nvSpPr>
          <p:cNvPr id="31" name="Name &amp; Surname">
            <a:extLst>
              <a:ext uri="{FF2B5EF4-FFF2-40B4-BE49-F238E27FC236}">
                <a16:creationId xmlns:a16="http://schemas.microsoft.com/office/drawing/2014/main" id="{4A623C1E-7ACF-624F-925D-EE13A08C6D7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08087" y="4122407"/>
            <a:ext cx="488791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30" name="Numeral Date">
            <a:extLst>
              <a:ext uri="{FF2B5EF4-FFF2-40B4-BE49-F238E27FC236}">
                <a16:creationId xmlns:a16="http://schemas.microsoft.com/office/drawing/2014/main" id="{80B0E6A2-D15A-844C-BC00-3E06BA55C9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208087" y="4512640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7E67ABFC-699A-5442-B333-C5B9BFC1B62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259041" y="2830679"/>
            <a:ext cx="3121683" cy="402732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91638933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/ Copy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b="0" i="0">
              <a:latin typeface="Arial" panose="020B0604020202020204" pitchFamily="34" charset="0"/>
            </a:endParaRP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89860AF3-B11D-E044-9D8F-73B99FD308F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35026" y="2978282"/>
            <a:ext cx="2341460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4DC76FFC-829F-2E41-8010-283209A5F55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73004" y="354173"/>
            <a:ext cx="2493543" cy="211306"/>
          </a:xfrm>
        </p:spPr>
        <p:txBody>
          <a:bodyPr>
            <a:noAutofit/>
          </a:bodyPr>
          <a:lstStyle>
            <a:lvl1pPr marL="0" indent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FFD2E4EE-B4A2-8B45-B517-3A2016545C0B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3976B47-2A89-7E1C-4938-FDDCFFD5DF9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3" name="Title">
            <a:extLst>
              <a:ext uri="{FF2B5EF4-FFF2-40B4-BE49-F238E27FC236}">
                <a16:creationId xmlns:a16="http://schemas.microsoft.com/office/drawing/2014/main" id="{4134A905-D06B-FAE7-A7C4-664E8D45C9AD}"/>
              </a:ext>
            </a:extLst>
          </p:cNvPr>
          <p:cNvSpPr txBox="1">
            <a:spLocks/>
          </p:cNvSpPr>
          <p:nvPr userDrawn="1"/>
        </p:nvSpPr>
        <p:spPr>
          <a:xfrm>
            <a:off x="682672" y="7515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457200" rtl="0" eaLnBrk="1" latinLnBrk="0" hangingPunct="1"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84893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8431BC4-FA1F-4029-B4CB-B47323FFB8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F5675-32B7-4D35-AE2B-978AE1197D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15AD0C-07DB-4418-8107-789D281B336C}" type="datetimeFigureOut">
              <a:rPr lang="en-US" smtClean="0"/>
              <a:t>5/28/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4100748-5877-469E-9BCE-C929CDCDD73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D72884F-AEA2-4D7C-BC30-0D072C6B29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9BA0C4-6567-459F-93BF-7D480B18476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243803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RED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college student in a hoodie and jean jacket smiles broadly at something across the classroom.">
            <a:extLst>
              <a:ext uri="{FF2B5EF4-FFF2-40B4-BE49-F238E27FC236}">
                <a16:creationId xmlns:a16="http://schemas.microsoft.com/office/drawing/2014/main" id="{D3FBABBA-EFFB-8723-4DFB-B88365F2D5D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3"/>
            <a:ext cx="12192000" cy="6851737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634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op Nav">
            <a:extLst>
              <a:ext uri="{FF2B5EF4-FFF2-40B4-BE49-F238E27FC236}">
                <a16:creationId xmlns:a16="http://schemas.microsoft.com/office/drawing/2014/main" id="{E4D20FAE-37C6-C749-A4C0-1C7EB7AFC4CD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2AC79D01-1491-1A46-B0B6-F2FEBC1BAC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2B404AE-4E2C-6049-95E3-193B665C26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DA8190D2-E978-6643-BCB2-60CDE40B83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5B59F53A-E8CF-1C40-B445-91F374C88B6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49255ED6-FF99-7C4C-872F-AE85277294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AA788A84-57E8-A34B-9A7A-191EA5DB557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B745550E-7BE1-494D-B44D-4932A01F337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959AF58F-8047-4A4F-B1B7-E6B18CF6AF8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2446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GHT BLUE on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DB41E570-CA75-A746-B954-43B4FA2F75C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5D6D3B9-5F57-4D46-94D5-27811194DCD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9130"/>
            <a:ext cx="4086451" cy="40682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3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9EF590-E588-8B41-AF56-718C495BBF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8B0874C-8B01-C74F-A1E1-E491D257E04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FC8C3A12-05AB-384D-B38A-AA60F17D987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D895255C-5C21-B44A-9272-4243F8BCCC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19F8877B-D18D-CF4F-A4B3-5626E1DDC4F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22" name="Body Text">
            <a:extLst>
              <a:ext uri="{FF2B5EF4-FFF2-40B4-BE49-F238E27FC236}">
                <a16:creationId xmlns:a16="http://schemas.microsoft.com/office/drawing/2014/main" id="{24804DEE-1D02-2343-BFAA-2C9772B1556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21" name="Call out Box">
            <a:extLst>
              <a:ext uri="{FF2B5EF4-FFF2-40B4-BE49-F238E27FC236}">
                <a16:creationId xmlns:a16="http://schemas.microsoft.com/office/drawing/2014/main" id="{B084D13F-DF47-7449-946E-30E399B431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874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F24543A-2943-E144-B0C9-4FF147982F8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9A8E5E85-12FB-CF4F-8F55-864987A9AC9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28411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GRAY on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op Nav">
            <a:extLst>
              <a:ext uri="{FF2B5EF4-FFF2-40B4-BE49-F238E27FC236}">
                <a16:creationId xmlns:a16="http://schemas.microsoft.com/office/drawing/2014/main" id="{FC231581-4C30-CC44-97C7-AF37930886B5}"/>
              </a:ext>
            </a:extLst>
          </p:cNvPr>
          <p:cNvSpPr/>
          <p:nvPr userDrawn="1"/>
        </p:nvSpPr>
        <p:spPr>
          <a:xfrm>
            <a:off x="8105548" y="728663"/>
            <a:ext cx="4086452" cy="4068295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5D441DD-A5DD-674E-B805-796E0DCE87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C6AF6692-F0B1-984D-AAE3-766630556B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06871" cy="8874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1" name="Call out box">
            <a:extLst>
              <a:ext uri="{FF2B5EF4-FFF2-40B4-BE49-F238E27FC236}">
                <a16:creationId xmlns:a16="http://schemas.microsoft.com/office/drawing/2014/main" id="{77BBF566-40CB-864A-B2E3-96B94E6B17C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tx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AECED608-F065-4D58-B7C8-0C1C936EBB3A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371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l-Out Box_RED on CARB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op Nav">
            <a:extLst>
              <a:ext uri="{FF2B5EF4-FFF2-40B4-BE49-F238E27FC236}">
                <a16:creationId xmlns:a16="http://schemas.microsoft.com/office/drawing/2014/main" id="{5632E63E-8B1B-134B-9EA1-CD9ACBB6716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8798B9-84E2-EE4D-837A-4C3149D62EA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728662"/>
            <a:ext cx="4086451" cy="40682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5077483-4A49-AA4B-8B2E-9115C1ECC2E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84900E18-72F0-D846-B39B-92BEB7B4C2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25EA957-D2E1-084E-8256-651E3AD57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DB93D016-9E70-8F45-AA00-97F5080F2D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73004" y="1681524"/>
            <a:ext cx="3413448" cy="8874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AA82C71-2310-B94F-83E7-85F9DDAE2F9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80184" y="2471301"/>
            <a:ext cx="5415816" cy="33539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1000"/>
              </a:spcBef>
              <a:buNone/>
              <a:defRPr lang="en-US" sz="18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Small caption below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F8CA0EEE-48D2-E543-8BF2-48FA2307D36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00458" y="3088679"/>
            <a:ext cx="6464300" cy="342344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1800" b="0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 </a:t>
            </a:r>
            <a:br>
              <a:rPr lang="en-US"/>
            </a:br>
            <a:br>
              <a:rPr lang="en-US"/>
            </a:b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.</a:t>
            </a:r>
          </a:p>
        </p:txBody>
      </p:sp>
      <p:sp>
        <p:nvSpPr>
          <p:cNvPr id="14" name="Call out box">
            <a:extLst>
              <a:ext uri="{FF2B5EF4-FFF2-40B4-BE49-F238E27FC236}">
                <a16:creationId xmlns:a16="http://schemas.microsoft.com/office/drawing/2014/main" id="{AE11AB8B-B566-2644-B60E-0DB3F72ACC8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121937" y="1791343"/>
            <a:ext cx="2067391" cy="195093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en-US" sz="2400" b="1" i="0" smtClean="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en-US"/>
              <a:t>Call Out Box —</a:t>
            </a:r>
          </a:p>
          <a:p>
            <a:pPr lvl="0"/>
            <a:r>
              <a:rPr lang="en-US"/>
              <a:t>24pt Bold limited to 50 characters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9663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6" orient="horz" pos="3022">
          <p15:clr>
            <a:srgbClr val="FBAE40"/>
          </p15:clr>
        </p15:guide>
        <p15:guide id="7" pos="5110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RED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45B405-5520-D342-BFF1-B356801142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8" name="Chapter Title">
            <a:extLst>
              <a:ext uri="{FF2B5EF4-FFF2-40B4-BE49-F238E27FC236}">
                <a16:creationId xmlns:a16="http://schemas.microsoft.com/office/drawing/2014/main" id="{84EF5F22-40A4-F34C-9AAE-3BE16DC4D88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0" name="Pg">
            <a:extLst>
              <a:ext uri="{FF2B5EF4-FFF2-40B4-BE49-F238E27FC236}">
                <a16:creationId xmlns:a16="http://schemas.microsoft.com/office/drawing/2014/main" id="{9E56A7A9-2EA7-8342-A088-17D4FCB6BD7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2280C8E3-777D-544D-80D5-B7791BC58B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F17A9CB7-967C-C743-9745-5972400AEAA9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6869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BLUE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7217A81-5A2C-1C46-B732-6D8F752FE7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9" name="Chapter Title">
            <a:extLst>
              <a:ext uri="{FF2B5EF4-FFF2-40B4-BE49-F238E27FC236}">
                <a16:creationId xmlns:a16="http://schemas.microsoft.com/office/drawing/2014/main" id="{C868D27C-4A66-3D40-B6D9-DA3C3E77BF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6307E64D-ABD6-964C-A9ED-0F2BC5F5DFC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74E7FBC-DBF4-A843-BCC8-3AABD2752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3932ECF-C481-0042-9C4B-69AC0151F6CE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3139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VIOLET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24E95-DAF4-C047-A8A8-63805777AB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9A2B021-614E-CC4D-9416-F375CF1D86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2918D5D-8AA4-3844-A0DB-F33D1F9E638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75582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GRAY on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9A50EBF1-7D5E-3747-8077-326AF31A95C4}"/>
              </a:ext>
            </a:extLst>
          </p:cNvPr>
          <p:cNvSpPr/>
          <p:nvPr userDrawn="1"/>
        </p:nvSpPr>
        <p:spPr>
          <a:xfrm>
            <a:off x="8112124" y="2744788"/>
            <a:ext cx="4079875" cy="4113211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62A26EE-2250-A34C-87BB-A0544E4652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4517ED0-C392-6B42-8C16-10ABCE91243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1" name="Pg">
            <a:extLst>
              <a:ext uri="{FF2B5EF4-FFF2-40B4-BE49-F238E27FC236}">
                <a16:creationId xmlns:a16="http://schemas.microsoft.com/office/drawing/2014/main" id="{1E2BD2C9-3898-8F41-A4FA-41AA87FB2AA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4A7980-45D8-784D-8E4F-0D0053671D0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115079" y="3827004"/>
            <a:ext cx="2067391" cy="195093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388F2E5B-FAE3-7C4A-9B56-8232512481C3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728663"/>
            <a:ext cx="12192000" cy="6122987"/>
          </a:xfrm>
          <a:custGeom>
            <a:avLst/>
            <a:gdLst>
              <a:gd name="connsiteX0" fmla="*/ 0 w 12192000"/>
              <a:gd name="connsiteY0" fmla="*/ 0 h 6122987"/>
              <a:gd name="connsiteX1" fmla="*/ 12192000 w 12192000"/>
              <a:gd name="connsiteY1" fmla="*/ 0 h 6122987"/>
              <a:gd name="connsiteX2" fmla="*/ 12192000 w 12192000"/>
              <a:gd name="connsiteY2" fmla="*/ 2042886 h 6122987"/>
              <a:gd name="connsiteX3" fmla="*/ 8142436 w 12192000"/>
              <a:gd name="connsiteY3" fmla="*/ 2042886 h 6122987"/>
              <a:gd name="connsiteX4" fmla="*/ 8142436 w 12192000"/>
              <a:gd name="connsiteY4" fmla="*/ 6122987 h 6122987"/>
              <a:gd name="connsiteX5" fmla="*/ 0 w 12192000"/>
              <a:gd name="connsiteY5" fmla="*/ 6122987 h 61229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122987">
                <a:moveTo>
                  <a:pt x="0" y="0"/>
                </a:moveTo>
                <a:lnTo>
                  <a:pt x="12192000" y="0"/>
                </a:lnTo>
                <a:lnTo>
                  <a:pt x="12192000" y="2042886"/>
                </a:lnTo>
                <a:lnTo>
                  <a:pt x="8142436" y="2042886"/>
                </a:lnTo>
                <a:lnTo>
                  <a:pt x="8142436" y="6122987"/>
                </a:lnTo>
                <a:lnTo>
                  <a:pt x="0" y="6122987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8693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BF5C9CE-D32E-5541-B85A-FA6797185C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D9ECAC6B-55DF-3941-B806-4599F631756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665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RED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3 children sit cross-legged on a library's floor as a book is read to them. Their faces show they are engaged with each other and the story.&#10;">
            <a:extLst>
              <a:ext uri="{FF2B5EF4-FFF2-40B4-BE49-F238E27FC236}">
                <a16:creationId xmlns:a16="http://schemas.microsoft.com/office/drawing/2014/main" id="{E7890813-9A2C-C445-8885-75DF0271E8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6262"/>
            <a:ext cx="12192000" cy="685173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3B1A09C3-C221-5247-95D0-510AEE25B7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E21A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isplay Date">
            <a:extLst>
              <a:ext uri="{FF2B5EF4-FFF2-40B4-BE49-F238E27FC236}">
                <a16:creationId xmlns:a16="http://schemas.microsoft.com/office/drawing/2014/main" id="{AB73912B-6039-1040-8EEA-A96C885983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2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6" name="Name &amp; Surname">
            <a:extLst>
              <a:ext uri="{FF2B5EF4-FFF2-40B4-BE49-F238E27FC236}">
                <a16:creationId xmlns:a16="http://schemas.microsoft.com/office/drawing/2014/main" id="{E00230D1-031F-1540-AAE8-BEEEB0C2CCA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2" y="5508815"/>
            <a:ext cx="2954336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473FF405-19A5-2B49-9177-D4AA443302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10" name="Title 2">
            <a:extLst>
              <a:ext uri="{FF2B5EF4-FFF2-40B4-BE49-F238E27FC236}">
                <a16:creationId xmlns:a16="http://schemas.microsoft.com/office/drawing/2014/main" id="{8F299F7E-7821-614A-83A4-8369943FC2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9" name="Picture 8" descr="McGraw Hill red cube logo ">
            <a:extLst>
              <a:ext uri="{FF2B5EF4-FFF2-40B4-BE49-F238E27FC236}">
                <a16:creationId xmlns:a16="http://schemas.microsoft.com/office/drawing/2014/main" id="{91FA0969-9821-8F42-A427-8BF01C4751A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6975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9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69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5F53538-1E06-AD4F-B660-530EE363B88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90803EF-B185-1A4B-AEB0-EB63A68BF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6377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Image-Bullets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1F03ADE6-71A7-C548-9F6E-82FDBBD6C8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4">
                    <a:lumMod val="25000"/>
                  </a:schemeClr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07249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BEFBCB-AB08-7140-8567-4FD4D04CAD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0C06EC2B-3880-F14F-AE7E-34F53ED22BC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192027" y="1736725"/>
            <a:ext cx="3807947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7999974" y="1749425"/>
            <a:ext cx="419202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4581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FB85C7-7209-144C-8D24-339DFB0EC3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EAEF899C-3DCF-8C49-9396-92C59D4A49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757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5F642D6-3553-324F-921E-A1CD808FEC0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CCC77AEF-848E-1B4D-806C-A42A975189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2" name="Body Text">
            <a:extLst>
              <a:ext uri="{FF2B5EF4-FFF2-40B4-BE49-F238E27FC236}">
                <a16:creationId xmlns:a16="http://schemas.microsoft.com/office/drawing/2014/main" id="{FE6FF244-ECCD-FB4B-888A-4E5725DEDCD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E8CE71D-FD18-3C4F-A0F0-3D4D2F934A3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28565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x-Text-Image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D857EF-54C6-E245-8DC5-BB2E357508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5E37CA6-007B-07DA-14EA-257D66F241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4" name="Pg">
            <a:extLst>
              <a:ext uri="{FF2B5EF4-FFF2-40B4-BE49-F238E27FC236}">
                <a16:creationId xmlns:a16="http://schemas.microsoft.com/office/drawing/2014/main" id="{AEE4B3C3-6D78-A2BC-C1D1-633EC0B75BB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BEF04848-82E9-8D9E-EDA9-0D1BEFB2B6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8" name="Body Text">
            <a:extLst>
              <a:ext uri="{FF2B5EF4-FFF2-40B4-BE49-F238E27FC236}">
                <a16:creationId xmlns:a16="http://schemas.microsoft.com/office/drawing/2014/main" id="{F46D2F08-BFA1-323D-8041-A4B3D061EF6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086451" y="1736725"/>
            <a:ext cx="3919783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nibh euismod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Tincidunt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erat volutpat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nonummy nibh euismod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5FC09504-150C-61B2-5FFF-68F698B29B2D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006234" y="1749425"/>
            <a:ext cx="4185766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318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WHITE on RED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14B6D6C-C29B-A548-A31E-1599E90232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4D7288D-C250-DA4D-944D-CBA7BA3285A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13171B07-0311-7047-85E4-7F1892F0E926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B65A249-F039-1443-8CC7-E8D46EA69B1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3864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Body Text">
            <a:extLst>
              <a:ext uri="{FF2B5EF4-FFF2-40B4-BE49-F238E27FC236}">
                <a16:creationId xmlns:a16="http://schemas.microsoft.com/office/drawing/2014/main" id="{56B22538-7C5A-A647-910D-69804A260BD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21545BC8-C647-F044-8E45-C6217831E34E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79875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9181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RED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E0ACFF1-F760-9646-978E-A45F7A2F22D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BF07E239-B479-4B49-A66C-67B5E5D8E5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69036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-6576" y="1749425"/>
            <a:ext cx="40864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7342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BLUE on GRAY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47323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79875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039C16-092F-A740-B960-ADDCD3D911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4" name="Chapter Title">
            <a:extLst>
              <a:ext uri="{FF2B5EF4-FFF2-40B4-BE49-F238E27FC236}">
                <a16:creationId xmlns:a16="http://schemas.microsoft.com/office/drawing/2014/main" id="{DFE8DBA8-3886-D840-99D3-91E700FD038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E942A5A9-5D2B-874B-85C2-0FB2FF903948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E21EE8B-6895-1B4A-9E48-4992928A95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1F6CFC0-4321-7D4C-8CA0-F170D87ABDF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102551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0E12685E-9A34-D043-B3F4-B6002C815ED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5248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BLUE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n the middle of his classroom, an elementary school teacher leans down to point at a student's paper. The boy holds a red pencil and smiles at his work.">
            <a:extLst>
              <a:ext uri="{FF2B5EF4-FFF2-40B4-BE49-F238E27FC236}">
                <a16:creationId xmlns:a16="http://schemas.microsoft.com/office/drawing/2014/main" id="{E41C6DCE-1CEF-5CFA-D3FF-5A71CA239D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72068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4716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st Slide_with Image and Call-Out Box_LIGHT VIOLET on VIOLET_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403860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5E0767D-8A25-6C4A-8364-3B7A3F82FAA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D467B54B-9FE7-4E4F-98D9-60E36D1BC2D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3390C15C-09AA-6441-8E32-6860B2A5815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B463D1A8-1111-114B-9890-0CE0E14B7D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1935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65A01FB2-D53F-9144-9E6D-230FE757F094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0" y="1749425"/>
            <a:ext cx="403860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1" name="Body text">
            <a:extLst>
              <a:ext uri="{FF2B5EF4-FFF2-40B4-BE49-F238E27FC236}">
                <a16:creationId xmlns:a16="http://schemas.microsoft.com/office/drawing/2014/main" id="{64F83AE8-A8B8-434F-AA98-B36F5C5B98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ts val="2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bg1"/>
                </a:solidFill>
              </a:defRPr>
            </a:lvl1pPr>
          </a:lstStyle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sec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u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ipiscing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sed diam non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ncidun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e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magna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iqu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lutpa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s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i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d mini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niam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stru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erci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tio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llamcorper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cip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bortis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rem ipsum dolor sit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t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. Diam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nummy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uismod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olore </a:t>
            </a:r>
            <a:r>
              <a:rPr lang="en-US" sz="16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gn</a:t>
            </a:r>
            <a:r>
              <a:rPr lang="en-US" sz="16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lnSpc>
                <a:spcPts val="2000"/>
              </a:lnSpc>
              <a:spcBef>
                <a:spcPts val="2400"/>
              </a:spcBef>
              <a:buFont typeface="Arial" panose="020B0604020202020204" pitchFamily="34" charset="0"/>
              <a:buChar char="•"/>
            </a:pPr>
            <a:endParaRPr lang="en-US" sz="16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264119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44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WHITE on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A2B83497-AC17-AA4D-A408-BC1541DD9E3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8260F9E-07AF-6041-980F-7BA9115C09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F106F7C5-7A97-E444-BFB0-CF29BEA883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adipiscing elit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amet, elit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ut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enim ad minim veniam, quis nostrud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1502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RED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096C25C-4E0B-8F45-A598-DEBA7C70A1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346516CC-87F2-EF46-9DE4-E73DBE2F3B5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6005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BLUE on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306C5015-F6E7-A54A-A976-675FA58E34B4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27DD19-AE7D-BE43-848C-DAC24AEB68E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C7C5E04-8E76-B248-8774-9FFC64C5F1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C5BE4A64-884B-5841-B4CC-BBBF316FD7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11234F79-2BE8-2C4C-ADCD-CBDE0C61CBF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8176B59D-8851-AB40-AB81-6FD2A69F4F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11678EC7-A5CF-9448-B748-B101B6E7CCB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0892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ll-Out Box_List_LIGHT VIOLET on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396FB7D-BC9F-1346-A5B7-84DCD85FCD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rgbClr val="E3B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B3ECB7-D9C5-7546-A06E-9CF6F67D236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20D7435D-F882-234A-BBC8-20C90114E1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4D95F659-D768-DA4C-A100-D623125B2D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accent3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1749425"/>
            <a:ext cx="7081838" cy="408781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154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0D7455A-EE1C-6647-9E82-6D3257DC72EB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C6DC658-BECF-B54E-AC16-9CF646F90F6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Chapter Title">
            <a:extLst>
              <a:ext uri="{FF2B5EF4-FFF2-40B4-BE49-F238E27FC236}">
                <a16:creationId xmlns:a16="http://schemas.microsoft.com/office/drawing/2014/main" id="{5DC50E46-D1E3-BA46-B0BD-6C842CD589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B8F9C1D-0289-1A42-AF78-E70116C939D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CBAEEB7-4D07-4E47-9AD6-1302A0606B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54C5140-16E5-5B49-8707-20A9139FD7A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  <p:sp>
        <p:nvSpPr>
          <p:cNvPr id="5" name="Body Text">
            <a:extLst>
              <a:ext uri="{FF2B5EF4-FFF2-40B4-BE49-F238E27FC236}">
                <a16:creationId xmlns:a16="http://schemas.microsoft.com/office/drawing/2014/main" id="{3F162B5C-891C-0B44-A2E9-6A1FC9970C9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488891"/>
            <a:ext cx="7081838" cy="3348347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50113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Bullets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op Nav">
            <a:extLst>
              <a:ext uri="{FF2B5EF4-FFF2-40B4-BE49-F238E27FC236}">
                <a16:creationId xmlns:a16="http://schemas.microsoft.com/office/drawing/2014/main" id="{961F419D-113E-EA4A-A5C8-2382F62B95B0}"/>
              </a:ext>
            </a:extLst>
          </p:cNvPr>
          <p:cNvSpPr/>
          <p:nvPr userDrawn="1"/>
        </p:nvSpPr>
        <p:spPr>
          <a:xfrm>
            <a:off x="0" y="728663"/>
            <a:ext cx="12192000" cy="6129337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AEA48F-3B08-6D49-AAE9-9E6A4A5E47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1E73F80A-1813-DA4F-8DE2-64EB7F213B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4" name="Pg">
            <a:extLst>
              <a:ext uri="{FF2B5EF4-FFF2-40B4-BE49-F238E27FC236}">
                <a16:creationId xmlns:a16="http://schemas.microsoft.com/office/drawing/2014/main" id="{C5FA2283-2471-EA4B-8E96-CF81D742253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DA36B83B-6BD2-D144-A9FF-1152262C28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Body Text">
            <a:extLst>
              <a:ext uri="{FF2B5EF4-FFF2-40B4-BE49-F238E27FC236}">
                <a16:creationId xmlns:a16="http://schemas.microsoft.com/office/drawing/2014/main" id="{C3F0DC8F-100D-6D40-8AA6-0019D1E024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7"/>
            <a:ext cx="7081838" cy="3328692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7156F9C9-D4B2-4542-B1D5-6C51BC91E5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6054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with Bullets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2D75399-CE4F-B348-BAB4-FC82DF0607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0" name="Chapter Title">
            <a:extLst>
              <a:ext uri="{FF2B5EF4-FFF2-40B4-BE49-F238E27FC236}">
                <a16:creationId xmlns:a16="http://schemas.microsoft.com/office/drawing/2014/main" id="{2695B54C-C4F8-924F-88E8-1F8C1618089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7A5D2E48-E60F-5D4A-A477-CBD140170AB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5F10BB2-BD13-C546-AA6B-50B0925DB9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43400" y="1755386"/>
            <a:ext cx="5729288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6" name="Body text">
            <a:extLst>
              <a:ext uri="{FF2B5EF4-FFF2-40B4-BE49-F238E27FC236}">
                <a16:creationId xmlns:a16="http://schemas.microsoft.com/office/drawing/2014/main" id="{7E84D754-ABE1-8845-ABAC-A3C9071350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43400" y="2508545"/>
            <a:ext cx="7081838" cy="3328693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lnSpc>
                <a:spcPts val="2460"/>
              </a:lnSpc>
              <a:spcBef>
                <a:spcPts val="24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lvl="0"/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lvl="0"/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 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37111FFF-42FA-CE45-BFD6-0F5263B7875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-42375" y="1749425"/>
            <a:ext cx="412225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5999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7F32332A-D1E5-0344-8F4A-15782F24E2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4169" y="1205032"/>
            <a:ext cx="11851251" cy="5142543"/>
            <a:chOff x="-14169" y="507347"/>
            <a:chExt cx="11851251" cy="5142543"/>
          </a:xfrm>
          <a:solidFill>
            <a:schemeClr val="accent1"/>
          </a:solidFill>
        </p:grpSpPr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5D639499-1066-AF40-AE90-26A09D51A0AE}"/>
                </a:ext>
              </a:extLst>
            </p:cNvPr>
            <p:cNvSpPr/>
            <p:nvPr/>
          </p:nvSpPr>
          <p:spPr>
            <a:xfrm>
              <a:off x="-14169" y="5425748"/>
              <a:ext cx="11151988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941F98C-5BFA-6740-9613-30D0EA32ABE5}"/>
                </a:ext>
              </a:extLst>
            </p:cNvPr>
            <p:cNvSpPr/>
            <p:nvPr userDrawn="1"/>
          </p:nvSpPr>
          <p:spPr>
            <a:xfrm rot="16200000">
              <a:off x="8840690" y="3352762"/>
              <a:ext cx="4364259" cy="229998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A82A5495-6A16-7E4F-A10F-15796EDFE106}"/>
                </a:ext>
              </a:extLst>
            </p:cNvPr>
            <p:cNvGrpSpPr/>
            <p:nvPr userDrawn="1"/>
          </p:nvGrpSpPr>
          <p:grpSpPr>
            <a:xfrm>
              <a:off x="10907820" y="507347"/>
              <a:ext cx="929262" cy="929262"/>
              <a:chOff x="10912844" y="507347"/>
              <a:chExt cx="929262" cy="929262"/>
            </a:xfrm>
            <a:grpFill/>
          </p:grpSpPr>
          <p:sp>
            <p:nvSpPr>
              <p:cNvPr id="18" name="Parallelogram 17">
                <a:extLst>
                  <a:ext uri="{FF2B5EF4-FFF2-40B4-BE49-F238E27FC236}">
                    <a16:creationId xmlns:a16="http://schemas.microsoft.com/office/drawing/2014/main" id="{621988DE-95DC-EE45-B046-15D64BBAD7B4}"/>
                  </a:ext>
                </a:extLst>
              </p:cNvPr>
              <p:cNvSpPr/>
              <p:nvPr userDrawn="1"/>
            </p:nvSpPr>
            <p:spPr>
              <a:xfrm>
                <a:off x="10912844" y="508806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19" name="Parallelogram 18">
                <a:extLst>
                  <a:ext uri="{FF2B5EF4-FFF2-40B4-BE49-F238E27FC236}">
                    <a16:creationId xmlns:a16="http://schemas.microsoft.com/office/drawing/2014/main" id="{8C4E5648-7B44-9343-B639-CE2FCAA69CE2}"/>
                  </a:ext>
                </a:extLst>
              </p:cNvPr>
              <p:cNvSpPr/>
              <p:nvPr userDrawn="1"/>
            </p:nvSpPr>
            <p:spPr>
              <a:xfrm rot="5400000" flipH="1">
                <a:off x="11261504" y="859182"/>
                <a:ext cx="929262" cy="225591"/>
              </a:xfrm>
              <a:prstGeom prst="parallelogram">
                <a:avLst>
                  <a:gd name="adj" fmla="val 96341"/>
                </a:avLst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86DBC325-AACD-E348-B1CE-AA37A6B0B9CF}"/>
                </a:ext>
              </a:extLst>
            </p:cNvPr>
            <p:cNvSpPr/>
            <p:nvPr/>
          </p:nvSpPr>
          <p:spPr>
            <a:xfrm rot="8100000">
              <a:off x="10845762" y="910161"/>
              <a:ext cx="960307" cy="22414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360358-6D06-CC44-8D16-DB5DC584951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0" name="Chapter Title">
            <a:extLst>
              <a:ext uri="{FF2B5EF4-FFF2-40B4-BE49-F238E27FC236}">
                <a16:creationId xmlns:a16="http://schemas.microsoft.com/office/drawing/2014/main" id="{7C7FF68D-EE65-2F48-93AE-190A7B1020A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3" name="Pg">
            <a:extLst>
              <a:ext uri="{FF2B5EF4-FFF2-40B4-BE49-F238E27FC236}">
                <a16:creationId xmlns:a16="http://schemas.microsoft.com/office/drawing/2014/main" id="{74E3B440-1518-AF4D-8F84-A9675B04F0AB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3612D239-8581-4C4B-90B8-B54512088E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599A04D7-A149-394C-B40F-92490463FE9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2" name="Column 2">
            <a:extLst>
              <a:ext uri="{FF2B5EF4-FFF2-40B4-BE49-F238E27FC236}">
                <a16:creationId xmlns:a16="http://schemas.microsoft.com/office/drawing/2014/main" id="{F5F1C930-B750-C841-B8C0-548499F4AFC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86817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200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RED and LIGHT 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" name="Group 55">
            <a:extLst>
              <a:ext uri="{FF2B5EF4-FFF2-40B4-BE49-F238E27FC236}">
                <a16:creationId xmlns:a16="http://schemas.microsoft.com/office/drawing/2014/main" id="{5177BBD6-89E5-8A4C-A618-63E9F5266BD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pSpPr/>
          <p:nvPr userDrawn="1"/>
        </p:nvGrpSpPr>
        <p:grpSpPr>
          <a:xfrm>
            <a:off x="-13447" y="1205031"/>
            <a:ext cx="11908923" cy="5164009"/>
            <a:chOff x="-13447" y="1205031"/>
            <a:chExt cx="11908923" cy="5164009"/>
          </a:xfrm>
        </p:grpSpPr>
        <p:grpSp>
          <p:nvGrpSpPr>
            <p:cNvPr id="53" name="Group 52">
              <a:extLst>
                <a:ext uri="{FF2B5EF4-FFF2-40B4-BE49-F238E27FC236}">
                  <a16:creationId xmlns:a16="http://schemas.microsoft.com/office/drawing/2014/main" id="{8A07E183-013B-4343-998D-88050E602673}"/>
                </a:ext>
              </a:extLst>
            </p:cNvPr>
            <p:cNvGrpSpPr/>
            <p:nvPr userDrawn="1"/>
          </p:nvGrpSpPr>
          <p:grpSpPr>
            <a:xfrm>
              <a:off x="10799406" y="1609994"/>
              <a:ext cx="1096070" cy="200297"/>
              <a:chOff x="10799406" y="1609994"/>
              <a:chExt cx="1096070" cy="200297"/>
            </a:xfrm>
          </p:grpSpPr>
          <p:sp>
            <p:nvSpPr>
              <p:cNvPr id="36" name="Rectangle 35">
                <a:extLst>
                  <a:ext uri="{FF2B5EF4-FFF2-40B4-BE49-F238E27FC236}">
                    <a16:creationId xmlns:a16="http://schemas.microsoft.com/office/drawing/2014/main" id="{6128CCC9-E183-EB47-863F-66E818DAF996}"/>
                  </a:ext>
                </a:extLst>
              </p:cNvPr>
              <p:cNvSpPr/>
              <p:nvPr userDrawn="1"/>
            </p:nvSpPr>
            <p:spPr>
              <a:xfrm rot="18900000">
                <a:off x="10799406" y="1609994"/>
                <a:ext cx="1013101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37" name="Rectangle 36">
                <a:extLst>
                  <a:ext uri="{FF2B5EF4-FFF2-40B4-BE49-F238E27FC236}">
                    <a16:creationId xmlns:a16="http://schemas.microsoft.com/office/drawing/2014/main" id="{BE3AC1E5-E15F-2140-9827-AA174AFAE02C}"/>
                  </a:ext>
                </a:extLst>
              </p:cNvPr>
              <p:cNvSpPr/>
              <p:nvPr userDrawn="1"/>
            </p:nvSpPr>
            <p:spPr>
              <a:xfrm rot="18900000">
                <a:off x="10879377" y="1693580"/>
                <a:ext cx="1016099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4" name="Group 53">
              <a:extLst>
                <a:ext uri="{FF2B5EF4-FFF2-40B4-BE49-F238E27FC236}">
                  <a16:creationId xmlns:a16="http://schemas.microsoft.com/office/drawing/2014/main" id="{90780782-1930-9744-964A-B91E28E603A0}"/>
                </a:ext>
              </a:extLst>
            </p:cNvPr>
            <p:cNvGrpSpPr/>
            <p:nvPr userDrawn="1"/>
          </p:nvGrpSpPr>
          <p:grpSpPr>
            <a:xfrm>
              <a:off x="10894136" y="1205031"/>
              <a:ext cx="940179" cy="935947"/>
              <a:chOff x="10894136" y="1205031"/>
              <a:chExt cx="940179" cy="935947"/>
            </a:xfrm>
          </p:grpSpPr>
          <p:grpSp>
            <p:nvGrpSpPr>
              <p:cNvPr id="38" name="Group 37">
                <a:extLst>
                  <a:ext uri="{FF2B5EF4-FFF2-40B4-BE49-F238E27FC236}">
                    <a16:creationId xmlns:a16="http://schemas.microsoft.com/office/drawing/2014/main" id="{45EC1281-6FEB-A14E-8D42-5C0399A71E23}"/>
                  </a:ext>
                </a:extLst>
              </p:cNvPr>
              <p:cNvGrpSpPr/>
              <p:nvPr userDrawn="1"/>
            </p:nvGrpSpPr>
            <p:grpSpPr>
              <a:xfrm>
                <a:off x="10896080" y="1205031"/>
                <a:ext cx="938235" cy="929262"/>
                <a:chOff x="3969603" y="2167014"/>
                <a:chExt cx="929262" cy="929262"/>
              </a:xfrm>
              <a:solidFill>
                <a:srgbClr val="E3B9FC"/>
              </a:solidFill>
            </p:grpSpPr>
            <p:sp>
              <p:nvSpPr>
                <p:cNvPr id="47" name="Parallelogram 46">
                  <a:extLst>
                    <a:ext uri="{FF2B5EF4-FFF2-40B4-BE49-F238E27FC236}">
                      <a16:creationId xmlns:a16="http://schemas.microsoft.com/office/drawing/2014/main" id="{7D96E391-66F0-0645-9D24-AEA901FA1B2B}"/>
                    </a:ext>
                  </a:extLst>
                </p:cNvPr>
                <p:cNvSpPr/>
                <p:nvPr userDrawn="1"/>
              </p:nvSpPr>
              <p:spPr>
                <a:xfrm>
                  <a:off x="3969603" y="2168473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8" name="Parallelogram 47">
                  <a:extLst>
                    <a:ext uri="{FF2B5EF4-FFF2-40B4-BE49-F238E27FC236}">
                      <a16:creationId xmlns:a16="http://schemas.microsoft.com/office/drawing/2014/main" id="{0B1B1425-47C9-7C46-926A-21890752B4CD}"/>
                    </a:ext>
                  </a:extLst>
                </p:cNvPr>
                <p:cNvSpPr/>
                <p:nvPr userDrawn="1"/>
              </p:nvSpPr>
              <p:spPr>
                <a:xfrm rot="5400000" flipH="1">
                  <a:off x="4321438" y="2518849"/>
                  <a:ext cx="929262" cy="225591"/>
                </a:xfrm>
                <a:prstGeom prst="parallelogram">
                  <a:avLst>
                    <a:gd name="adj" fmla="val 96341"/>
                  </a:avLst>
                </a:prstGeom>
                <a:grp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id="{5195C950-E43E-BE48-8808-D0948E9FAB67}"/>
                  </a:ext>
                </a:extLst>
              </p:cNvPr>
              <p:cNvGrpSpPr/>
              <p:nvPr userDrawn="1"/>
            </p:nvGrpSpPr>
            <p:grpSpPr>
              <a:xfrm>
                <a:off x="10894136" y="1318957"/>
                <a:ext cx="831297" cy="822021"/>
                <a:chOff x="3966636" y="2277354"/>
                <a:chExt cx="823347" cy="822021"/>
              </a:xfrm>
              <a:solidFill>
                <a:srgbClr val="06235B"/>
              </a:solidFill>
            </p:grpSpPr>
            <p:sp>
              <p:nvSpPr>
                <p:cNvPr id="45" name="Parallelogram 61">
                  <a:extLst>
                    <a:ext uri="{FF2B5EF4-FFF2-40B4-BE49-F238E27FC236}">
                      <a16:creationId xmlns:a16="http://schemas.microsoft.com/office/drawing/2014/main" id="{9DCC372B-6B4D-924C-A629-07FA51756A14}"/>
                    </a:ext>
                  </a:extLst>
                </p:cNvPr>
                <p:cNvSpPr/>
                <p:nvPr userDrawn="1"/>
              </p:nvSpPr>
              <p:spPr>
                <a:xfrm>
                  <a:off x="3966636" y="2277354"/>
                  <a:ext cx="821312" cy="119886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19886">
                      <a:moveTo>
                        <a:pt x="0" y="119886"/>
                      </a:moveTo>
                      <a:lnTo>
                        <a:pt x="112441" y="3175"/>
                      </a:lnTo>
                      <a:lnTo>
                        <a:pt x="821312" y="0"/>
                      </a:lnTo>
                      <a:lnTo>
                        <a:pt x="708871" y="116711"/>
                      </a:lnTo>
                      <a:lnTo>
                        <a:pt x="0" y="119886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sp>
              <p:nvSpPr>
                <p:cNvPr id="46" name="Parallelogram 61">
                  <a:extLst>
                    <a:ext uri="{FF2B5EF4-FFF2-40B4-BE49-F238E27FC236}">
                      <a16:creationId xmlns:a16="http://schemas.microsoft.com/office/drawing/2014/main" id="{C32C7223-D73E-5F40-B470-48EB281F38CE}"/>
                    </a:ext>
                  </a:extLst>
                </p:cNvPr>
                <p:cNvSpPr/>
                <p:nvPr userDrawn="1"/>
              </p:nvSpPr>
              <p:spPr>
                <a:xfrm rot="16200000" flipH="1">
                  <a:off x="4317797" y="2627188"/>
                  <a:ext cx="821312" cy="123061"/>
                </a:xfrm>
                <a:custGeom>
                  <a:avLst/>
                  <a:gdLst>
                    <a:gd name="connsiteX0" fmla="*/ 0 w 929262"/>
                    <a:gd name="connsiteY0" fmla="*/ 116711 h 116711"/>
                    <a:gd name="connsiteX1" fmla="*/ 112441 w 929262"/>
                    <a:gd name="connsiteY1" fmla="*/ 0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929262"/>
                    <a:gd name="connsiteY0" fmla="*/ 116711 h 116711"/>
                    <a:gd name="connsiteX1" fmla="*/ 223566 w 929262"/>
                    <a:gd name="connsiteY1" fmla="*/ 3175 h 116711"/>
                    <a:gd name="connsiteX2" fmla="*/ 929262 w 929262"/>
                    <a:gd name="connsiteY2" fmla="*/ 0 h 116711"/>
                    <a:gd name="connsiteX3" fmla="*/ 816821 w 929262"/>
                    <a:gd name="connsiteY3" fmla="*/ 116711 h 116711"/>
                    <a:gd name="connsiteX4" fmla="*/ 0 w 929262"/>
                    <a:gd name="connsiteY4" fmla="*/ 116711 h 116711"/>
                    <a:gd name="connsiteX0" fmla="*/ 0 w 805437"/>
                    <a:gd name="connsiteY0" fmla="*/ 116711 h 116711"/>
                    <a:gd name="connsiteX1" fmla="*/ 99741 w 805437"/>
                    <a:gd name="connsiteY1" fmla="*/ 3175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1537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05437"/>
                    <a:gd name="connsiteY0" fmla="*/ 116711 h 116711"/>
                    <a:gd name="connsiteX1" fmla="*/ 90216 w 805437"/>
                    <a:gd name="connsiteY1" fmla="*/ 6350 h 116711"/>
                    <a:gd name="connsiteX2" fmla="*/ 805437 w 805437"/>
                    <a:gd name="connsiteY2" fmla="*/ 0 h 116711"/>
                    <a:gd name="connsiteX3" fmla="*/ 692996 w 805437"/>
                    <a:gd name="connsiteY3" fmla="*/ 116711 h 116711"/>
                    <a:gd name="connsiteX4" fmla="*/ 0 w 805437"/>
                    <a:gd name="connsiteY4" fmla="*/ 116711 h 116711"/>
                    <a:gd name="connsiteX0" fmla="*/ 0 w 821312"/>
                    <a:gd name="connsiteY0" fmla="*/ 119886 h 119886"/>
                    <a:gd name="connsiteX1" fmla="*/ 106091 w 821312"/>
                    <a:gd name="connsiteY1" fmla="*/ 635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2441 w 821312"/>
                    <a:gd name="connsiteY1" fmla="*/ 3175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19886 h 119886"/>
                    <a:gd name="connsiteX1" fmla="*/ 118791 w 821312"/>
                    <a:gd name="connsiteY1" fmla="*/ 0 h 119886"/>
                    <a:gd name="connsiteX2" fmla="*/ 821312 w 821312"/>
                    <a:gd name="connsiteY2" fmla="*/ 0 h 119886"/>
                    <a:gd name="connsiteX3" fmla="*/ 708871 w 821312"/>
                    <a:gd name="connsiteY3" fmla="*/ 116711 h 119886"/>
                    <a:gd name="connsiteX4" fmla="*/ 0 w 821312"/>
                    <a:gd name="connsiteY4" fmla="*/ 119886 h 119886"/>
                    <a:gd name="connsiteX0" fmla="*/ 0 w 821312"/>
                    <a:gd name="connsiteY0" fmla="*/ 123061 h 123061"/>
                    <a:gd name="connsiteX1" fmla="*/ 64816 w 821312"/>
                    <a:gd name="connsiteY1" fmla="*/ 0 h 123061"/>
                    <a:gd name="connsiteX2" fmla="*/ 821312 w 821312"/>
                    <a:gd name="connsiteY2" fmla="*/ 3175 h 123061"/>
                    <a:gd name="connsiteX3" fmla="*/ 708871 w 821312"/>
                    <a:gd name="connsiteY3" fmla="*/ 119886 h 123061"/>
                    <a:gd name="connsiteX4" fmla="*/ 0 w 821312"/>
                    <a:gd name="connsiteY4" fmla="*/ 123061 h 12306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</a:cxnLst>
                  <a:rect l="l" t="t" r="r" b="b"/>
                  <a:pathLst>
                    <a:path w="821312" h="123061">
                      <a:moveTo>
                        <a:pt x="0" y="123061"/>
                      </a:moveTo>
                      <a:lnTo>
                        <a:pt x="64816" y="0"/>
                      </a:lnTo>
                      <a:lnTo>
                        <a:pt x="821312" y="3175"/>
                      </a:lnTo>
                      <a:lnTo>
                        <a:pt x="708871" y="119886"/>
                      </a:lnTo>
                      <a:lnTo>
                        <a:pt x="0" y="123061"/>
                      </a:ln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</p:grpSp>
        </p:grp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3B25C319-2990-5F44-9E6C-9230EDFA1D64}"/>
                </a:ext>
              </a:extLst>
            </p:cNvPr>
            <p:cNvGrpSpPr/>
            <p:nvPr userDrawn="1"/>
          </p:nvGrpSpPr>
          <p:grpSpPr>
            <a:xfrm>
              <a:off x="-13447" y="6149065"/>
              <a:ext cx="11072003" cy="219975"/>
              <a:chOff x="-13447" y="6149065"/>
              <a:chExt cx="11072003" cy="219975"/>
            </a:xfrm>
          </p:grpSpPr>
          <p:sp>
            <p:nvSpPr>
              <p:cNvPr id="43" name="Rectangle 42">
                <a:extLst>
                  <a:ext uri="{FF2B5EF4-FFF2-40B4-BE49-F238E27FC236}">
                    <a16:creationId xmlns:a16="http://schemas.microsoft.com/office/drawing/2014/main" id="{05832D2A-E5F4-3147-B1F2-0F66239A3AFE}"/>
                  </a:ext>
                </a:extLst>
              </p:cNvPr>
              <p:cNvSpPr/>
              <p:nvPr userDrawn="1"/>
            </p:nvSpPr>
            <p:spPr>
              <a:xfrm>
                <a:off x="-13446" y="6149065"/>
                <a:ext cx="11021108" cy="116711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44" name="Rectangle 43">
                <a:extLst>
                  <a:ext uri="{FF2B5EF4-FFF2-40B4-BE49-F238E27FC236}">
                    <a16:creationId xmlns:a16="http://schemas.microsoft.com/office/drawing/2014/main" id="{71BE06FC-1F60-7648-8CD3-2993C5D1A6AB}"/>
                  </a:ext>
                </a:extLst>
              </p:cNvPr>
              <p:cNvSpPr/>
              <p:nvPr userDrawn="1"/>
            </p:nvSpPr>
            <p:spPr>
              <a:xfrm>
                <a:off x="-13447" y="6252329"/>
                <a:ext cx="11072003" cy="116711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55" name="Group 54">
              <a:extLst>
                <a:ext uri="{FF2B5EF4-FFF2-40B4-BE49-F238E27FC236}">
                  <a16:creationId xmlns:a16="http://schemas.microsoft.com/office/drawing/2014/main" id="{E7E466A8-3EE2-8347-9B9C-FE56409F0248}"/>
                </a:ext>
              </a:extLst>
            </p:cNvPr>
            <p:cNvGrpSpPr/>
            <p:nvPr userDrawn="1"/>
          </p:nvGrpSpPr>
          <p:grpSpPr>
            <a:xfrm>
              <a:off x="10905626" y="1984376"/>
              <a:ext cx="221104" cy="4371214"/>
              <a:chOff x="10905626" y="1984376"/>
              <a:chExt cx="221104" cy="4371214"/>
            </a:xfrm>
          </p:grpSpPr>
          <p:sp>
            <p:nvSpPr>
              <p:cNvPr id="51" name="Rectangle 50">
                <a:extLst>
                  <a:ext uri="{FF2B5EF4-FFF2-40B4-BE49-F238E27FC236}">
                    <a16:creationId xmlns:a16="http://schemas.microsoft.com/office/drawing/2014/main" id="{CB74D01D-AF7D-F546-9D97-25EB36CB7AB2}"/>
                  </a:ext>
                </a:extLst>
              </p:cNvPr>
              <p:cNvSpPr/>
              <p:nvPr userDrawn="1"/>
            </p:nvSpPr>
            <p:spPr>
              <a:xfrm rot="16200000">
                <a:off x="8837278" y="4052724"/>
                <a:ext cx="4254534" cy="117838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FDE4EF2A-625F-DE47-B16E-96317A6EF3C6}"/>
                  </a:ext>
                </a:extLst>
              </p:cNvPr>
              <p:cNvSpPr/>
              <p:nvPr userDrawn="1"/>
            </p:nvSpPr>
            <p:spPr>
              <a:xfrm rot="16200000">
                <a:off x="8907603" y="4136464"/>
                <a:ext cx="4320415" cy="117838"/>
              </a:xfrm>
              <a:prstGeom prst="rect">
                <a:avLst/>
              </a:prstGeom>
              <a:solidFill>
                <a:srgbClr val="E3B9FC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399DEEC-FB65-6B40-99C0-B38B502ABA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8" name="Chapter Title">
            <a:extLst>
              <a:ext uri="{FF2B5EF4-FFF2-40B4-BE49-F238E27FC236}">
                <a16:creationId xmlns:a16="http://schemas.microsoft.com/office/drawing/2014/main" id="{43C2F540-BC4F-4F4B-A13F-64EFF4C3B6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9" name="Pg">
            <a:extLst>
              <a:ext uri="{FF2B5EF4-FFF2-40B4-BE49-F238E27FC236}">
                <a16:creationId xmlns:a16="http://schemas.microsoft.com/office/drawing/2014/main" id="{A8099171-5756-5C41-97AC-1AFF8DDD9B6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CE4F8156-A223-6D49-A819-DDA0DC712A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26" name="Column 1">
            <a:extLst>
              <a:ext uri="{FF2B5EF4-FFF2-40B4-BE49-F238E27FC236}">
                <a16:creationId xmlns:a16="http://schemas.microsoft.com/office/drawing/2014/main" id="{D0E48077-2819-8A49-A05C-6703D2804F9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30" name="Column 2">
            <a:extLst>
              <a:ext uri="{FF2B5EF4-FFF2-40B4-BE49-F238E27FC236}">
                <a16:creationId xmlns:a16="http://schemas.microsoft.com/office/drawing/2014/main" id="{92FCC806-979D-BB45-BD58-D2DFE35FAEE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137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_Full Bleed Image_BLUE_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girl with purple glasses purses her lips in concentration as she writes on a whiteboard with a large, black marker. Her classmate stands beside her.&#10;">
            <a:extLst>
              <a:ext uri="{FF2B5EF4-FFF2-40B4-BE49-F238E27FC236}">
                <a16:creationId xmlns:a16="http://schemas.microsoft.com/office/drawing/2014/main" id="{92362EEF-3BD7-9942-9F61-594A9380A71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33100"/>
            <a:ext cx="12192000" cy="68911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FC0B215F-CC30-5D4D-8CBD-8143A5F9B7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Display Date">
            <a:extLst>
              <a:ext uri="{FF2B5EF4-FFF2-40B4-BE49-F238E27FC236}">
                <a16:creationId xmlns:a16="http://schemas.microsoft.com/office/drawing/2014/main" id="{7F129D7E-B24B-D243-8677-D2E88D580E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11" name="Name &amp; Surname">
            <a:extLst>
              <a:ext uri="{FF2B5EF4-FFF2-40B4-BE49-F238E27FC236}">
                <a16:creationId xmlns:a16="http://schemas.microsoft.com/office/drawing/2014/main" id="{958D4D3F-3519-B04D-A7AB-B2717A8E5D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59209D60-98AC-A347-9518-252F7F6486C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1" y="4486707"/>
            <a:ext cx="2760436" cy="35401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13217E5-B63E-6E47-AB63-FCA8E43887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5" name="Picture 14" descr="McGraw Hill red cube logo ">
            <a:extLst>
              <a:ext uri="{FF2B5EF4-FFF2-40B4-BE49-F238E27FC236}">
                <a16:creationId xmlns:a16="http://schemas.microsoft.com/office/drawing/2014/main" id="{55C15131-0BCC-E64D-88F8-AA080E056CD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2526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28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Text_No Arro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hapter Title">
            <a:extLst>
              <a:ext uri="{FF2B5EF4-FFF2-40B4-BE49-F238E27FC236}">
                <a16:creationId xmlns:a16="http://schemas.microsoft.com/office/drawing/2014/main" id="{6270A90D-500C-E74E-8060-95448D45EE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47549A0-DD2F-6C43-86AE-FF641D1700A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2" name="Pg">
            <a:extLst>
              <a:ext uri="{FF2B5EF4-FFF2-40B4-BE49-F238E27FC236}">
                <a16:creationId xmlns:a16="http://schemas.microsoft.com/office/drawing/2014/main" id="{BF1DBC1E-7F69-B843-B19E-79A078D9478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4AF4E5FD-8EB6-BE45-B712-8F1275A7C80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Column 1">
            <a:extLst>
              <a:ext uri="{FF2B5EF4-FFF2-40B4-BE49-F238E27FC236}">
                <a16:creationId xmlns:a16="http://schemas.microsoft.com/office/drawing/2014/main" id="{D98A9DBF-922D-A54A-AEA9-91C2162DC5F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77634" y="1736496"/>
            <a:ext cx="3201988" cy="437409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r>
              <a:rPr lang="en-US" b="1">
                <a:solidFill>
                  <a:srgbClr val="33333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/>
              <a:t>is simply dummy text of the printing and typesetting industry. Lorem Ipsum has been the industry's standard dummy text ever since the 1500s, when an unknown printer took a galley of type and scrambled it to make a type specimen book. It has survived not only five centuries, but also the leap into electronic typesetting, remaining essentially unchanged.</a:t>
            </a:r>
          </a:p>
          <a:p>
            <a:pPr lvl="0"/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6F862A84-E061-8143-BCE7-4C9B9A9B5E5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99078" y="1738591"/>
            <a:ext cx="6053560" cy="4168775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</a:lstStyle>
          <a:p>
            <a:pPr>
              <a:spcBef>
                <a:spcPts val="1800"/>
              </a:spcBef>
            </a:pPr>
            <a:r>
              <a:rPr lang="en-US" b="1">
                <a:solidFill>
                  <a:srgbClr val="E21A2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rem ipsum</a:t>
            </a:r>
            <a:endParaRPr lang="en-US">
              <a:solidFill>
                <a:srgbClr val="333333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ivam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magn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justo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lacini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onsecte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, convallis a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tell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raesen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sapie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mass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convallis a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ellentesque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ec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gesta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non nis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vehicula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lementum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dui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342900" indent="-342900">
              <a:spcBef>
                <a:spcPts val="1800"/>
              </a:spcBef>
              <a:buFont typeface="+mj-lt"/>
              <a:buAutoNum type="arabicPeriod"/>
            </a:pP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Curbitu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rcu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era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accumsan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id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imperdiet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et, </a:t>
            </a:r>
            <a:r>
              <a:rPr lang="en-US" err="1"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>
                <a:latin typeface="Arial" panose="020B0604020202020204" pitchFamily="34" charset="0"/>
                <a:cs typeface="Arial" panose="020B0604020202020204" pitchFamily="34" charset="0"/>
              </a:rPr>
              <a:t> at sem.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906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33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 – Call Out Box / Image - 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op Nav">
            <a:extLst>
              <a:ext uri="{FF2B5EF4-FFF2-40B4-BE49-F238E27FC236}">
                <a16:creationId xmlns:a16="http://schemas.microsoft.com/office/drawing/2014/main" id="{7D2DC8A1-421B-D94B-8FDF-9154C2780425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426FD28-B719-1F4E-8B2C-2180713E8E7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750105"/>
            <a:ext cx="4086451" cy="408645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089FB6B-4E4C-9945-8D76-D4163E41BB1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1" name="Chapter Title">
            <a:extLst>
              <a:ext uri="{FF2B5EF4-FFF2-40B4-BE49-F238E27FC236}">
                <a16:creationId xmlns:a16="http://schemas.microsoft.com/office/drawing/2014/main" id="{82355C5D-BD51-6E43-B9BF-49F809DD497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5" name="Pg">
            <a:extLst>
              <a:ext uri="{FF2B5EF4-FFF2-40B4-BE49-F238E27FC236}">
                <a16:creationId xmlns:a16="http://schemas.microsoft.com/office/drawing/2014/main" id="{23F56041-7362-CC41-84C6-DF9F558C0E7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BED6375A-D484-F047-8EE7-94EE16B17B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8357" y="2980309"/>
            <a:ext cx="2308129" cy="194890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Body Text">
            <a:extLst>
              <a:ext uri="{FF2B5EF4-FFF2-40B4-BE49-F238E27FC236}">
                <a16:creationId xmlns:a16="http://schemas.microsoft.com/office/drawing/2014/main" id="{FA312E64-CA61-0C49-AFA7-E9AED0BB7480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05800" y="1736725"/>
            <a:ext cx="3312648" cy="4086450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>
                <a:solidFill>
                  <a:schemeClr val="tx1"/>
                </a:solidFill>
              </a:defRPr>
            </a:lvl1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 </a:t>
            </a:r>
            <a:r>
              <a:rPr lang="en-US" err="1"/>
              <a:t>consect</a:t>
            </a:r>
            <a:r>
              <a:rPr lang="en-US"/>
              <a:t> </a:t>
            </a:r>
            <a:r>
              <a:rPr lang="en-US" err="1"/>
              <a:t>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non </a:t>
            </a:r>
            <a:r>
              <a:rPr lang="en-US" err="1"/>
              <a:t>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 </a:t>
            </a:r>
            <a:r>
              <a:rPr lang="en-US" err="1"/>
              <a:t>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elit</a:t>
            </a:r>
            <a:r>
              <a:rPr lang="en-US"/>
              <a:t> sed.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dolore </a:t>
            </a:r>
            <a:r>
              <a:rPr lang="en-US" err="1"/>
              <a:t>magn</a:t>
            </a:r>
            <a:r>
              <a:rPr lang="en-US"/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D579BCA-890F-CE47-97E0-5990F85F808A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079875" y="1749425"/>
            <a:ext cx="3924300" cy="409257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71062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257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orient="horz" pos="1094">
          <p15:clr>
            <a:srgbClr val="FBAE40"/>
          </p15:clr>
        </p15:guide>
        <p15:guide id="6" orient="horz" pos="3680">
          <p15:clr>
            <a:srgbClr val="FBAE40"/>
          </p15:clr>
        </p15:guide>
        <p15:guide id="7" pos="5042">
          <p15:clr>
            <a:srgbClr val="FBAE40"/>
          </p15:clr>
        </p15:guide>
        <p15:guide id="8" pos="5292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lit Text Content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op Nav">
            <a:extLst>
              <a:ext uri="{FF2B5EF4-FFF2-40B4-BE49-F238E27FC236}">
                <a16:creationId xmlns:a16="http://schemas.microsoft.com/office/drawing/2014/main" id="{506D94AE-6408-924A-9474-D9BFD3F46BF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28662"/>
            <a:ext cx="6096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op Nav">
            <a:extLst>
              <a:ext uri="{FF2B5EF4-FFF2-40B4-BE49-F238E27FC236}">
                <a16:creationId xmlns:a16="http://schemas.microsoft.com/office/drawing/2014/main" id="{587A5945-13FE-A54A-B1D9-FD863F5E652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6096000" y="728662"/>
            <a:ext cx="6096000" cy="6129337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Pg">
            <a:extLst>
              <a:ext uri="{FF2B5EF4-FFF2-40B4-BE49-F238E27FC236}">
                <a16:creationId xmlns:a16="http://schemas.microsoft.com/office/drawing/2014/main" id="{4D0F0969-6A77-E9ED-7831-7B6D2742FDFE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lumn 1">
            <a:extLst>
              <a:ext uri="{FF2B5EF4-FFF2-40B4-BE49-F238E27FC236}">
                <a16:creationId xmlns:a16="http://schemas.microsoft.com/office/drawing/2014/main" id="{2F5662AF-7710-BD12-B3C3-E68E6BC6340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756529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56660D89-6935-0841-BD0F-E8303DE34F4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756529" y="1689044"/>
            <a:ext cx="2540607" cy="52322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Title 24pt Bold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15B2D6D7-92FA-A341-4B7F-6F369242B2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69051" y="2248300"/>
            <a:ext cx="4864849" cy="4292600"/>
          </a:xfrm>
          <a:prstGeom prst="rect">
            <a:avLst/>
          </a:prstGeom>
        </p:spPr>
        <p:txBody>
          <a:bodyPr/>
          <a:lstStyle>
            <a:lvl1pPr marL="285750" indent="-285750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Char char="•"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amet, consectetuer adipiscing</a:t>
            </a:r>
          </a:p>
          <a:p>
            <a:pPr lvl="0"/>
            <a:r>
              <a:rPr lang="en-US"/>
              <a:t>Lorem ipsum dolor sit amet, consectetuer adipiscing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6CFA8719-8D5A-0F48-BF03-43422A7A51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9052" y="1648584"/>
            <a:ext cx="3889501" cy="599716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7" name="Chapter Title">
            <a:extLst>
              <a:ext uri="{FF2B5EF4-FFF2-40B4-BE49-F238E27FC236}">
                <a16:creationId xmlns:a16="http://schemas.microsoft.com/office/drawing/2014/main" id="{12968A59-ECEF-5743-B06E-E7F185B3A6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A3BA688-9438-8D4E-8584-9C8619327D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17769145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3840">
          <p15:clr>
            <a:srgbClr val="FBAE40"/>
          </p15:clr>
        </p15:guide>
        <p15:guide id="12" pos="483">
          <p15:clr>
            <a:srgbClr val="FBAE40"/>
          </p15:clr>
        </p15:guide>
        <p15:guide id="13" pos="7197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684079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762E6F4-ACEF-4946-9F8B-3E94398BCD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3" name="Chapter Title">
            <a:extLst>
              <a:ext uri="{FF2B5EF4-FFF2-40B4-BE49-F238E27FC236}">
                <a16:creationId xmlns:a16="http://schemas.microsoft.com/office/drawing/2014/main" id="{F9E60D72-3177-4045-A466-D4B05B19B06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0" name="Pg">
            <a:extLst>
              <a:ext uri="{FF2B5EF4-FFF2-40B4-BE49-F238E27FC236}">
                <a16:creationId xmlns:a16="http://schemas.microsoft.com/office/drawing/2014/main" id="{E1F1980C-9889-C848-8872-29975F666E0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1544E1B1-08F2-4C4E-92C9-F500EEA591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0" name="01">
            <a:extLst>
              <a:ext uri="{FF2B5EF4-FFF2-40B4-BE49-F238E27FC236}">
                <a16:creationId xmlns:a16="http://schemas.microsoft.com/office/drawing/2014/main" id="{6F3CD7EC-291A-CB41-AC04-9DA32ED4912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8" name="Caption 1">
            <a:extLst>
              <a:ext uri="{FF2B5EF4-FFF2-40B4-BE49-F238E27FC236}">
                <a16:creationId xmlns:a16="http://schemas.microsoft.com/office/drawing/2014/main" id="{C49CF928-74D9-7D4A-9C22-E2E436B914D8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3" name="Column 1">
            <a:extLst>
              <a:ext uri="{FF2B5EF4-FFF2-40B4-BE49-F238E27FC236}">
                <a16:creationId xmlns:a16="http://schemas.microsoft.com/office/drawing/2014/main" id="{6587622A-E7E2-6B44-B626-9CC87A6C6DC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3" name="02">
            <a:extLst>
              <a:ext uri="{FF2B5EF4-FFF2-40B4-BE49-F238E27FC236}">
                <a16:creationId xmlns:a16="http://schemas.microsoft.com/office/drawing/2014/main" id="{DDE4B5E5-63E4-6D4D-B63F-A8AE99EB850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9" name="Caption 2">
            <a:extLst>
              <a:ext uri="{FF2B5EF4-FFF2-40B4-BE49-F238E27FC236}">
                <a16:creationId xmlns:a16="http://schemas.microsoft.com/office/drawing/2014/main" id="{D6639B44-DFB3-1048-9F98-610715182EE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4" name="Column 2">
            <a:extLst>
              <a:ext uri="{FF2B5EF4-FFF2-40B4-BE49-F238E27FC236}">
                <a16:creationId xmlns:a16="http://schemas.microsoft.com/office/drawing/2014/main" id="{055A89E4-9DE0-AE4F-8C40-E086AFB8D5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6" name="03">
            <a:extLst>
              <a:ext uri="{FF2B5EF4-FFF2-40B4-BE49-F238E27FC236}">
                <a16:creationId xmlns:a16="http://schemas.microsoft.com/office/drawing/2014/main" id="{C62E8335-4BFD-FA41-B11F-1D2EEEB049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0" name="Caption 3">
            <a:extLst>
              <a:ext uri="{FF2B5EF4-FFF2-40B4-BE49-F238E27FC236}">
                <a16:creationId xmlns:a16="http://schemas.microsoft.com/office/drawing/2014/main" id="{B0534917-CDE1-0641-BA42-A95A1C4C355C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5" name="Column 3">
            <a:extLst>
              <a:ext uri="{FF2B5EF4-FFF2-40B4-BE49-F238E27FC236}">
                <a16:creationId xmlns:a16="http://schemas.microsoft.com/office/drawing/2014/main" id="{D357D3AF-CA84-204B-A109-31A760A1C43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49" name="04">
            <a:extLst>
              <a:ext uri="{FF2B5EF4-FFF2-40B4-BE49-F238E27FC236}">
                <a16:creationId xmlns:a16="http://schemas.microsoft.com/office/drawing/2014/main" id="{06027FA5-B9A8-984E-B10A-886620508A6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1" name="Caption 4">
            <a:extLst>
              <a:ext uri="{FF2B5EF4-FFF2-40B4-BE49-F238E27FC236}">
                <a16:creationId xmlns:a16="http://schemas.microsoft.com/office/drawing/2014/main" id="{66947F2B-8897-954A-9AD2-8FCD3367A578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6" name="Column 4">
            <a:extLst>
              <a:ext uri="{FF2B5EF4-FFF2-40B4-BE49-F238E27FC236}">
                <a16:creationId xmlns:a16="http://schemas.microsoft.com/office/drawing/2014/main" id="{08B9E6CA-F2C9-0E4B-AD40-C7C2B61346B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52" name="05">
            <a:extLst>
              <a:ext uri="{FF2B5EF4-FFF2-40B4-BE49-F238E27FC236}">
                <a16:creationId xmlns:a16="http://schemas.microsoft.com/office/drawing/2014/main" id="{D9009439-37E9-A14D-8A5B-6031C0EB087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62" name="Caption 5">
            <a:extLst>
              <a:ext uri="{FF2B5EF4-FFF2-40B4-BE49-F238E27FC236}">
                <a16:creationId xmlns:a16="http://schemas.microsoft.com/office/drawing/2014/main" id="{D7AC52E8-4D8C-8D4B-AB02-9A2C26B23E50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67" name="Column 5">
            <a:extLst>
              <a:ext uri="{FF2B5EF4-FFF2-40B4-BE49-F238E27FC236}">
                <a16:creationId xmlns:a16="http://schemas.microsoft.com/office/drawing/2014/main" id="{3602C7B6-9754-724B-B0BB-AE3CB5B565C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6366192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rgbClr val="0623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0D2407-3AEE-1846-8778-AE4EE683A8D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33" name="Chapter Title">
            <a:extLst>
              <a:ext uri="{FF2B5EF4-FFF2-40B4-BE49-F238E27FC236}">
                <a16:creationId xmlns:a16="http://schemas.microsoft.com/office/drawing/2014/main" id="{7D24EF4D-8CFF-2241-8291-933EFE6292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8" name="Pg">
            <a:extLst>
              <a:ext uri="{FF2B5EF4-FFF2-40B4-BE49-F238E27FC236}">
                <a16:creationId xmlns:a16="http://schemas.microsoft.com/office/drawing/2014/main" id="{2D9A1D09-DB20-6D4D-83FD-330BCF62809D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itle 1">
            <a:extLst>
              <a:ext uri="{FF2B5EF4-FFF2-40B4-BE49-F238E27FC236}">
                <a16:creationId xmlns:a16="http://schemas.microsoft.com/office/drawing/2014/main" id="{EE40A5D0-FCE3-9442-99D4-4FFF20BCBC7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BAD73B57-8C4A-D743-AACF-484F43CC0BA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2B469334-6E72-5D40-AA8E-B737B44651BE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42B229DB-D4B9-544F-8266-3342343568F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F469656D-C96E-9A47-B8C1-D64C8FCF777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8383D3C-9789-A842-828F-3B5C13382A9B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DFE1817B-BA1F-C949-8EA0-6C100525960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FA4866C5-96CB-A844-A442-C93A18B11AE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7BA46A7F-694F-8447-AAD3-ED50BF4275AA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A2E9B9FF-BCCB-2247-9494-04E868F5AF0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FFA14467-DA2F-1347-A181-87C0FDFC047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CD36F8F1-96E3-E648-926C-EFEE29F6CFA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B161DB36-BA0A-6E48-A4BC-33D1C6F0B3E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4F8FF71C-BC5B-B24A-944F-6C70373088E8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8389548D-A6FA-B449-8592-28D45618BBAD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/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BBFD7C98-2BE7-7E44-BCED-09D82235061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bg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404672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-Column Conten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339568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423BF18-190B-0B45-86C7-8E7FD8D5BA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4" name="Chapter Title">
            <a:extLst>
              <a:ext uri="{FF2B5EF4-FFF2-40B4-BE49-F238E27FC236}">
                <a16:creationId xmlns:a16="http://schemas.microsoft.com/office/drawing/2014/main" id="{4C3A16F4-5E80-954F-9F5D-C17AAF09B87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68B34E99-AE30-4C49-ABBE-F3D759A45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53" name="01">
            <a:extLst>
              <a:ext uri="{FF2B5EF4-FFF2-40B4-BE49-F238E27FC236}">
                <a16:creationId xmlns:a16="http://schemas.microsoft.com/office/drawing/2014/main" id="{656B9FAF-84C0-7E43-8B08-53730DCF7EF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79440" y="1946465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59" name="Caption 1">
            <a:extLst>
              <a:ext uri="{FF2B5EF4-FFF2-40B4-BE49-F238E27FC236}">
                <a16:creationId xmlns:a16="http://schemas.microsoft.com/office/drawing/2014/main" id="{9CF9316A-A272-CB44-96B8-3E066822DFC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rgbClr val="FFFFFF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5" name="Subtitle 1">
            <a:extLst>
              <a:ext uri="{FF2B5EF4-FFF2-40B4-BE49-F238E27FC236}">
                <a16:creationId xmlns:a16="http://schemas.microsoft.com/office/drawing/2014/main" id="{36FF7C71-04B0-1B44-BAC9-283FE6509B04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84532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Column 1">
            <a:extLst>
              <a:ext uri="{FF2B5EF4-FFF2-40B4-BE49-F238E27FC236}">
                <a16:creationId xmlns:a16="http://schemas.microsoft.com/office/drawing/2014/main" id="{D95B1A93-7377-6B4F-AB4C-85A0ADE1456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716113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4" name="02">
            <a:extLst>
              <a:ext uri="{FF2B5EF4-FFF2-40B4-BE49-F238E27FC236}">
                <a16:creationId xmlns:a16="http://schemas.microsoft.com/office/drawing/2014/main" id="{42B5B42B-7BA8-8749-A68B-767FDE1DBED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146882" y="1946703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61" name="Caption 2">
            <a:extLst>
              <a:ext uri="{FF2B5EF4-FFF2-40B4-BE49-F238E27FC236}">
                <a16:creationId xmlns:a16="http://schemas.microsoft.com/office/drawing/2014/main" id="{AB11E701-A589-1142-AAC4-7F98249E39B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3673065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AC7180CB-D6CC-884D-A1D6-4238C52B1D1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507143" y="4388629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1" name="Column 2">
            <a:extLst>
              <a:ext uri="{FF2B5EF4-FFF2-40B4-BE49-F238E27FC236}">
                <a16:creationId xmlns:a16="http://schemas.microsoft.com/office/drawing/2014/main" id="{DED1FE80-97ED-A44A-AAC7-23445FA9373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3538724" y="4957614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5" name="03">
            <a:extLst>
              <a:ext uri="{FF2B5EF4-FFF2-40B4-BE49-F238E27FC236}">
                <a16:creationId xmlns:a16="http://schemas.microsoft.com/office/drawing/2014/main" id="{8192EB0B-9651-B544-BDAC-EE091C49C6F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99356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62" name="Caption 3">
            <a:extLst>
              <a:ext uri="{FF2B5EF4-FFF2-40B4-BE49-F238E27FC236}">
                <a16:creationId xmlns:a16="http://schemas.microsoft.com/office/drawing/2014/main" id="{284AA87E-52EF-2045-830C-F4AAFF5F87A3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6462044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2" name="Subtitle 3">
            <a:extLst>
              <a:ext uri="{FF2B5EF4-FFF2-40B4-BE49-F238E27FC236}">
                <a16:creationId xmlns:a16="http://schemas.microsoft.com/office/drawing/2014/main" id="{94D3E8CD-91A0-F547-BA17-B7867B89A681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6305088" y="4391924"/>
            <a:ext cx="1858962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3" name="Column 3">
            <a:extLst>
              <a:ext uri="{FF2B5EF4-FFF2-40B4-BE49-F238E27FC236}">
                <a16:creationId xmlns:a16="http://schemas.microsoft.com/office/drawing/2014/main" id="{39B3353B-2777-5447-89A8-8604255C06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6336669" y="4960909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56" name="04">
            <a:extLst>
              <a:ext uri="{FF2B5EF4-FFF2-40B4-BE49-F238E27FC236}">
                <a16:creationId xmlns:a16="http://schemas.microsoft.com/office/drawing/2014/main" id="{6CFC2436-7424-CA43-969D-9AB5100DA389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0822026" y="1940697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63" name="Caption 4">
            <a:extLst>
              <a:ext uri="{FF2B5EF4-FFF2-40B4-BE49-F238E27FC236}">
                <a16:creationId xmlns:a16="http://schemas.microsoft.com/office/drawing/2014/main" id="{C758B12F-C44F-274A-A913-BCB1409A8DD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25774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37" name="Subtitle 4">
            <a:extLst>
              <a:ext uri="{FF2B5EF4-FFF2-40B4-BE49-F238E27FC236}">
                <a16:creationId xmlns:a16="http://schemas.microsoft.com/office/drawing/2014/main" id="{54CCEB4F-7779-5E4B-B18D-AA167974CF58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9153963" y="4388597"/>
            <a:ext cx="2044858" cy="37941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1400" b="1"/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8" name="Column 4">
            <a:extLst>
              <a:ext uri="{FF2B5EF4-FFF2-40B4-BE49-F238E27FC236}">
                <a16:creationId xmlns:a16="http://schemas.microsoft.com/office/drawing/2014/main" id="{DDA404CD-C496-1F4F-B260-2970B74DBAD4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9156413" y="4957582"/>
            <a:ext cx="2277952" cy="1666875"/>
          </a:xfrm>
          <a:prstGeom prst="rect">
            <a:avLst/>
          </a:prstGeom>
        </p:spPr>
        <p:txBody>
          <a:bodyPr>
            <a:noAutofit/>
          </a:bodyPr>
          <a:lstStyle>
            <a:lvl1pPr marL="285750" indent="-285750">
              <a:buFont typeface="Arial" panose="020B0604020202020204" pitchFamily="34" charset="0"/>
              <a:buChar char="•"/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dolore.</a:t>
            </a:r>
          </a:p>
          <a:p>
            <a:pPr lvl="0"/>
            <a:r>
              <a:rPr lang="en-US"/>
              <a:t>Lorem ipsum dolor sit amet, </a:t>
            </a:r>
            <a:r>
              <a:rPr lang="en-US" err="1"/>
              <a:t>consectetuer</a:t>
            </a:r>
            <a:r>
              <a:rPr lang="en-US"/>
              <a:t> adipiscing </a:t>
            </a:r>
            <a:r>
              <a:rPr lang="en-US" err="1"/>
              <a:t>netrat</a:t>
            </a:r>
            <a:r>
              <a:rPr lang="en-US"/>
              <a:t>.</a:t>
            </a:r>
          </a:p>
          <a:p>
            <a:pPr lvl="0"/>
            <a:endParaRPr lang="en-US"/>
          </a:p>
        </p:txBody>
      </p:sp>
      <p:sp>
        <p:nvSpPr>
          <p:cNvPr id="25" name="Pg">
            <a:extLst>
              <a:ext uri="{FF2B5EF4-FFF2-40B4-BE49-F238E27FC236}">
                <a16:creationId xmlns:a16="http://schemas.microsoft.com/office/drawing/2014/main" id="{26155597-F0AF-764C-8816-67A652B266AC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87037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-Column Text Slide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Top Nav">
            <a:extLst>
              <a:ext uri="{FF2B5EF4-FFF2-40B4-BE49-F238E27FC236}">
                <a16:creationId xmlns:a16="http://schemas.microsoft.com/office/drawing/2014/main" id="{63C8FBF6-E07B-8749-9CE6-AF0D6291DEB0}"/>
              </a:ext>
            </a:extLst>
          </p:cNvPr>
          <p:cNvSpPr/>
          <p:nvPr userDrawn="1"/>
        </p:nvSpPr>
        <p:spPr>
          <a:xfrm>
            <a:off x="0" y="728664"/>
            <a:ext cx="12191999" cy="6129336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F60BAF2-64CC-3A4E-B752-82EE147FA79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8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7" name="Chapter Title">
            <a:extLst>
              <a:ext uri="{FF2B5EF4-FFF2-40B4-BE49-F238E27FC236}">
                <a16:creationId xmlns:a16="http://schemas.microsoft.com/office/drawing/2014/main" id="{01EF1194-E7BA-8641-B7C3-306A8956FD8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35" name="Pg">
            <a:extLst>
              <a:ext uri="{FF2B5EF4-FFF2-40B4-BE49-F238E27FC236}">
                <a16:creationId xmlns:a16="http://schemas.microsoft.com/office/drawing/2014/main" id="{844B4F85-BEB9-7D42-92C7-7EC215876681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BEE164E9-B94E-9149-9694-54223865484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991669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4" name="01">
            <a:extLst>
              <a:ext uri="{FF2B5EF4-FFF2-40B4-BE49-F238E27FC236}">
                <a16:creationId xmlns:a16="http://schemas.microsoft.com/office/drawing/2014/main" id="{95B3BA13-C080-9848-9EE1-B9E9CA19F93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48137" y="2158500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8" name="Caption 1">
            <a:extLst>
              <a:ext uri="{FF2B5EF4-FFF2-40B4-BE49-F238E27FC236}">
                <a16:creationId xmlns:a16="http://schemas.microsoft.com/office/drawing/2014/main" id="{AF070C41-6C94-3A4A-978A-F440F161765B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76676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3" name="Column 1">
            <a:extLst>
              <a:ext uri="{FF2B5EF4-FFF2-40B4-BE49-F238E27FC236}">
                <a16:creationId xmlns:a16="http://schemas.microsoft.com/office/drawing/2014/main" id="{03D79C4C-8F32-6B4B-9FFB-9C9CFDBBDF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8255" y="4203375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17" name="02">
            <a:extLst>
              <a:ext uri="{FF2B5EF4-FFF2-40B4-BE49-F238E27FC236}">
                <a16:creationId xmlns:a16="http://schemas.microsoft.com/office/drawing/2014/main" id="{CA6ABE95-681E-C34A-B8B6-569502D902E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247170" y="2158738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9" name="Caption 2">
            <a:extLst>
              <a:ext uri="{FF2B5EF4-FFF2-40B4-BE49-F238E27FC236}">
                <a16:creationId xmlns:a16="http://schemas.microsoft.com/office/drawing/2014/main" id="{23600F69-272F-C24D-B914-C33E87064853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2963378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6" name="Column 2">
            <a:extLst>
              <a:ext uri="{FF2B5EF4-FFF2-40B4-BE49-F238E27FC236}">
                <a16:creationId xmlns:a16="http://schemas.microsoft.com/office/drawing/2014/main" id="{88C5C30B-1103-594F-A8AA-BF1A6908C9D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817288" y="4203613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0" name="03">
            <a:extLst>
              <a:ext uri="{FF2B5EF4-FFF2-40B4-BE49-F238E27FC236}">
                <a16:creationId xmlns:a16="http://schemas.microsoft.com/office/drawing/2014/main" id="{E3A9735A-C485-864B-B59D-5F45DEADA83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43785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0" name="Caption 3">
            <a:extLst>
              <a:ext uri="{FF2B5EF4-FFF2-40B4-BE49-F238E27FC236}">
                <a16:creationId xmlns:a16="http://schemas.microsoft.com/office/drawing/2014/main" id="{373489FE-C2DA-EF46-949E-CA23CB51A54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5153703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19" name="Column 3">
            <a:extLst>
              <a:ext uri="{FF2B5EF4-FFF2-40B4-BE49-F238E27FC236}">
                <a16:creationId xmlns:a16="http://schemas.microsoft.com/office/drawing/2014/main" id="{4FF6A20C-BEDE-1547-803D-D2BD830DE10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5013903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3" name="04">
            <a:extLst>
              <a:ext uri="{FF2B5EF4-FFF2-40B4-BE49-F238E27FC236}">
                <a16:creationId xmlns:a16="http://schemas.microsoft.com/office/drawing/2014/main" id="{ADC59BD8-C0C2-684A-8085-EBDE4B767D9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39673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1" name="Caption 4">
            <a:extLst>
              <a:ext uri="{FF2B5EF4-FFF2-40B4-BE49-F238E27FC236}">
                <a16:creationId xmlns:a16="http://schemas.microsoft.com/office/drawing/2014/main" id="{7C02D760-3953-CF49-A639-E32179CD656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7344521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2" name="Column 4">
            <a:extLst>
              <a:ext uri="{FF2B5EF4-FFF2-40B4-BE49-F238E27FC236}">
                <a16:creationId xmlns:a16="http://schemas.microsoft.com/office/drawing/2014/main" id="{F4EA188A-7D90-7B4B-A837-4262F19D75D5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7209791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26" name="05">
            <a:extLst>
              <a:ext uri="{FF2B5EF4-FFF2-40B4-BE49-F238E27FC236}">
                <a16:creationId xmlns:a16="http://schemas.microsoft.com/office/drawing/2014/main" id="{2EFF1D36-CE17-1949-929C-138DF560583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10835561" y="2152732"/>
            <a:ext cx="649287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32" name="Caption 5">
            <a:extLst>
              <a:ext uri="{FF2B5EF4-FFF2-40B4-BE49-F238E27FC236}">
                <a16:creationId xmlns:a16="http://schemas.microsoft.com/office/drawing/2014/main" id="{A0B65ACF-BEB4-5149-816B-A56877ED8C6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9543467" y="3420255"/>
            <a:ext cx="2050525" cy="5588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</a:t>
            </a:r>
            <a:r>
              <a:rPr lang="en-US" err="1"/>
              <a:t>Dolo</a:t>
            </a:r>
            <a:r>
              <a:rPr lang="en-US"/>
              <a:t> Sit </a:t>
            </a:r>
            <a:r>
              <a:rPr lang="en-US" err="1"/>
              <a:t>Amet</a:t>
            </a:r>
            <a:endParaRPr lang="en-US"/>
          </a:p>
        </p:txBody>
      </p:sp>
      <p:sp>
        <p:nvSpPr>
          <p:cNvPr id="25" name="Column 5">
            <a:extLst>
              <a:ext uri="{FF2B5EF4-FFF2-40B4-BE49-F238E27FC236}">
                <a16:creationId xmlns:a16="http://schemas.microsoft.com/office/drawing/2014/main" id="{D17CA303-7361-2D47-BB94-C5EFD44B71B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405679" y="4197607"/>
            <a:ext cx="2156484" cy="21463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spcBef>
                <a:spcPts val="1200"/>
              </a:spcBef>
              <a:buFont typeface="Arial" panose="020B0604020202020204" pitchFamily="34" charset="0"/>
              <a:buNone/>
              <a:defRPr sz="1400" b="0">
                <a:solidFill>
                  <a:schemeClr val="tx1"/>
                </a:solidFill>
              </a:defRPr>
            </a:lvl1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abitu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non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ulla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sl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c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stibulum ac diam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uam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ed sit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et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ui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d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rttitor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bh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ctus</a:t>
            </a:r>
            <a:r>
              <a:rPr lang="en-US" sz="1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128794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35B9C971-A59C-E24F-9F13-F9E4BED677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5" name="Title Line 1">
            <a:extLst>
              <a:ext uri="{FF2B5EF4-FFF2-40B4-BE49-F238E27FC236}">
                <a16:creationId xmlns:a16="http://schemas.microsoft.com/office/drawing/2014/main" id="{460B94BE-2F57-214D-AA8B-96BF52A1AB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985924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1091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6" name="Title Line 2">
            <a:extLst>
              <a:ext uri="{FF2B5EF4-FFF2-40B4-BE49-F238E27FC236}">
                <a16:creationId xmlns:a16="http://schemas.microsoft.com/office/drawing/2014/main" id="{E31E5F7E-95A4-D243-9357-C2B9239A652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149850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36106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3">
            <a:extLst>
              <a:ext uri="{FF2B5EF4-FFF2-40B4-BE49-F238E27FC236}">
                <a16:creationId xmlns:a16="http://schemas.microsoft.com/office/drawing/2014/main" id="{CEBEEFA7-BA38-3640-8D05-BA35D9C9FA5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8313775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01121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383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Column Conten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>
            <a:extLst>
              <a:ext uri="{FF2B5EF4-FFF2-40B4-BE49-F238E27FC236}">
                <a16:creationId xmlns:a16="http://schemas.microsoft.com/office/drawing/2014/main" id="{A2699079-097B-CA44-BDE4-664F85187F4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740954"/>
            <a:ext cx="12192000" cy="99577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3CD589-820C-E34C-BB24-CFC41AFBF47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6" name="Chapter Title">
            <a:extLst>
              <a:ext uri="{FF2B5EF4-FFF2-40B4-BE49-F238E27FC236}">
                <a16:creationId xmlns:a16="http://schemas.microsoft.com/office/drawing/2014/main" id="{922674B1-49AA-9341-8C46-794E759907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BD0B7D5-0192-F646-9D3E-35CC8C2AFEB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EF3A6DBF-0DEF-DB4B-A0B6-95184738436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Title line 1">
            <a:extLst>
              <a:ext uri="{FF2B5EF4-FFF2-40B4-BE49-F238E27FC236}">
                <a16:creationId xmlns:a16="http://schemas.microsoft.com/office/drawing/2014/main" id="{6E0352A1-1A9E-4B4D-AC82-71F39E86DC61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026892" y="1995932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7" name="Column 1">
            <a:extLst>
              <a:ext uri="{FF2B5EF4-FFF2-40B4-BE49-F238E27FC236}">
                <a16:creationId xmlns:a16="http://schemas.microsoft.com/office/drawing/2014/main" id="{93049BCE-22FC-114B-8D98-3B5794B6075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12059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7" name="Title line 2">
            <a:extLst>
              <a:ext uri="{FF2B5EF4-FFF2-40B4-BE49-F238E27FC236}">
                <a16:creationId xmlns:a16="http://schemas.microsoft.com/office/drawing/2014/main" id="{16F4E1AB-6264-DF41-8025-CF302045B0D2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3775168" y="1993226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3" name="Column 2">
            <a:extLst>
              <a:ext uri="{FF2B5EF4-FFF2-40B4-BE49-F238E27FC236}">
                <a16:creationId xmlns:a16="http://schemas.microsoft.com/office/drawing/2014/main" id="{CFA1A9FC-B5F4-4B4F-87A1-973B4BF19A4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56142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18" name="Title line 3">
            <a:extLst>
              <a:ext uri="{FF2B5EF4-FFF2-40B4-BE49-F238E27FC236}">
                <a16:creationId xmlns:a16="http://schemas.microsoft.com/office/drawing/2014/main" id="{4005FD16-CA36-F449-BFD1-723D089159F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6523443" y="2006927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5" name="Column 3">
            <a:extLst>
              <a:ext uri="{FF2B5EF4-FFF2-40B4-BE49-F238E27FC236}">
                <a16:creationId xmlns:a16="http://schemas.microsoft.com/office/drawing/2014/main" id="{42638CEB-FE41-3149-B18E-D43AD55BB2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10789" y="2681936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  <p:sp>
        <p:nvSpPr>
          <p:cNvPr id="21" name="Title line 4">
            <a:extLst>
              <a:ext uri="{FF2B5EF4-FFF2-40B4-BE49-F238E27FC236}">
                <a16:creationId xmlns:a16="http://schemas.microsoft.com/office/drawing/2014/main" id="{85D83742-7B64-2842-9FD7-C3DB4A118D59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9271718" y="1998724"/>
            <a:ext cx="1892300" cy="312737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27" name="Column 4">
            <a:extLst>
              <a:ext uri="{FF2B5EF4-FFF2-40B4-BE49-F238E27FC236}">
                <a16:creationId xmlns:a16="http://schemas.microsoft.com/office/drawing/2014/main" id="{EB2FCF4E-2315-A74B-9A73-3DEC8F3B2CB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60154" y="2673159"/>
            <a:ext cx="2319787" cy="3177252"/>
          </a:xfrm>
          <a:prstGeom prst="rect">
            <a:avLst/>
          </a:prstGeom>
        </p:spPr>
        <p:txBody>
          <a:bodyPr>
            <a:normAutofit/>
          </a:bodyPr>
          <a:lstStyle>
            <a:lvl1pPr marL="285750" marR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marL="285750" marR="0" lvl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uter</a:t>
            </a:r>
            <a:r>
              <a:rPr lang="en-US"/>
              <a:t> </a:t>
            </a:r>
            <a:r>
              <a:rPr lang="en-US" err="1"/>
              <a:t>adipciing</a:t>
            </a: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8113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9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200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80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_Full Bleed Image_VIOLET_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group of college students holding their notebooks share a laugh outside a school building.">
            <a:extLst>
              <a:ext uri="{FF2B5EF4-FFF2-40B4-BE49-F238E27FC236}">
                <a16:creationId xmlns:a16="http://schemas.microsoft.com/office/drawing/2014/main" id="{ED6FB341-F7F5-9842-DF4D-6D3D22DF86E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B1327E40-7AE9-D645-B4A9-1806BB82E5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8105549" y="2765287"/>
            <a:ext cx="4086451" cy="4086451"/>
          </a:xfrm>
          <a:prstGeom prst="rect">
            <a:avLst/>
          </a:prstGeom>
          <a:solidFill>
            <a:srgbClr val="440B7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isplay Date">
            <a:extLst>
              <a:ext uri="{FF2B5EF4-FFF2-40B4-BE49-F238E27FC236}">
                <a16:creationId xmlns:a16="http://schemas.microsoft.com/office/drawing/2014/main" id="{AF19FE6E-ABD4-0641-9E4F-ECE7E253ADA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801" y="5893085"/>
            <a:ext cx="1811481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20" name="Name &amp; Surname">
            <a:extLst>
              <a:ext uri="{FF2B5EF4-FFF2-40B4-BE49-F238E27FC236}">
                <a16:creationId xmlns:a16="http://schemas.microsoft.com/office/drawing/2014/main" id="{7526AB89-E183-9647-B0C6-8DBEA8E2B6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64801" y="5508815"/>
            <a:ext cx="2939823" cy="3115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er Name(s)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A35E7039-7E5C-EA46-8A76-6BF0BD49C6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664802" y="4486707"/>
            <a:ext cx="2760436" cy="354013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EE8D7D83-3733-6544-9A18-692EAF0556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679316" y="3395900"/>
            <a:ext cx="2745922" cy="94038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pic>
        <p:nvPicPr>
          <p:cNvPr id="11" name="Picture 10" descr="McGraw Hill red cube logo ">
            <a:extLst>
              <a:ext uri="{FF2B5EF4-FFF2-40B4-BE49-F238E27FC236}">
                <a16:creationId xmlns:a16="http://schemas.microsoft.com/office/drawing/2014/main" id="{2133F0EF-B82D-AB41-BC98-F67769B6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3750" y="185576"/>
            <a:ext cx="701068" cy="7010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6305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9" pos="7310">
          <p15:clr>
            <a:srgbClr val="FBAE40"/>
          </p15:clr>
        </p15:guide>
        <p15:guide id="10" pos="336">
          <p15:clr>
            <a:srgbClr val="FBAE40"/>
          </p15:clr>
        </p15:guide>
        <p15:guide id="11" pos="5110">
          <p15:clr>
            <a:srgbClr val="FBAE40"/>
          </p15:clr>
        </p15:guide>
        <p15:guide id="12" orient="horz" pos="1746">
          <p15:clr>
            <a:srgbClr val="FBAE40"/>
          </p15:clr>
        </p15:guide>
        <p15:guide id="13" pos="483">
          <p15:clr>
            <a:srgbClr val="FBAE40"/>
          </p15:clr>
        </p15:guide>
        <p15:guide id="14" pos="7197">
          <p15:clr>
            <a:srgbClr val="FBAE40"/>
          </p15:clr>
        </p15:guide>
      </p15:sldGuideLst>
    </p:ext>
  </p:extLs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8818EE-D37D-50E7-F166-FDA5EEEF49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C6B1683-BE6C-994F-8C71-4655A6D7B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28FF114-93DC-FC49-9934-51730AECACA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B53FBC86-B154-F249-A0EA-A3F4998B8867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B2093CD-2406-1349-966B-57058BD810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473606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59743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463824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6833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51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>
              <a:solidFill>
                <a:schemeClr val="accent3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1C4C9A5-0868-2701-BC50-B6336F7A9B3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C4C2075-62BB-E24C-8076-CA96EF9E70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DB23EC58-BCB7-634A-BB1D-B02CF96ACF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28B7895A-CD17-BE4E-8275-3B988852FF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0D918B0F-8556-604B-BAA8-A6C7C9B54BD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371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cs_with Copy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1490707B-6C6C-5E44-87D8-521DBCC7E21C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B603EE6-48B1-A9DD-3E8C-9F040098CC7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/>
        </p:nvSpPr>
        <p:spPr>
          <a:xfrm>
            <a:off x="0" y="1480845"/>
            <a:ext cx="7041819" cy="23216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FF60865-49F2-1743-ACC3-2007E090A73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937ACD68-09C5-D248-B40F-4B1840FDA9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430514C7-0A12-D14C-9687-4F3B4194A5E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4" y="1682595"/>
            <a:ext cx="4253436" cy="80431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7" name="Body text">
            <a:extLst>
              <a:ext uri="{FF2B5EF4-FFF2-40B4-BE49-F238E27FC236}">
                <a16:creationId xmlns:a16="http://schemas.microsoft.com/office/drawing/2014/main" id="{16032F2A-D24D-FA45-816D-4D82D213E1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894" y="2650646"/>
            <a:ext cx="5581918" cy="98533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 </a:t>
            </a:r>
            <a:r>
              <a:rPr lang="en-US" err="1"/>
              <a:t>euismod</a:t>
            </a:r>
            <a:r>
              <a:rPr lang="en-US"/>
              <a:t> </a:t>
            </a:r>
            <a:r>
              <a:rPr lang="en-US" err="1"/>
              <a:t>tinc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</a:t>
            </a:r>
            <a:r>
              <a:rPr lang="en-US" err="1"/>
              <a:t>laoreet</a:t>
            </a:r>
            <a:r>
              <a:rPr lang="en-US"/>
              <a:t> dolore magna </a:t>
            </a:r>
            <a:r>
              <a:rPr lang="en-US" err="1"/>
              <a:t>aliquam</a:t>
            </a:r>
            <a:r>
              <a:rPr lang="en-US"/>
              <a:t> </a:t>
            </a:r>
            <a:r>
              <a:rPr lang="en-US" err="1"/>
              <a:t>erat</a:t>
            </a:r>
            <a:r>
              <a:rPr lang="en-US"/>
              <a:t> </a:t>
            </a:r>
            <a:r>
              <a:rPr lang="en-US" err="1"/>
              <a:t>volutpat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44" name="Stat 1">
            <a:extLst>
              <a:ext uri="{FF2B5EF4-FFF2-40B4-BE49-F238E27FC236}">
                <a16:creationId xmlns:a16="http://schemas.microsoft.com/office/drawing/2014/main" id="{4BD686AE-DC91-DC4E-98B6-493D6DB1708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2950" y="41701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45" name="Stat 1 caption">
            <a:extLst>
              <a:ext uri="{FF2B5EF4-FFF2-40B4-BE49-F238E27FC236}">
                <a16:creationId xmlns:a16="http://schemas.microsoft.com/office/drawing/2014/main" id="{19AE6206-7E35-854D-855D-A8B8530A72C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84482" y="5009199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47" name="Stat 1 copy">
            <a:extLst>
              <a:ext uri="{FF2B5EF4-FFF2-40B4-BE49-F238E27FC236}">
                <a16:creationId xmlns:a16="http://schemas.microsoft.com/office/drawing/2014/main" id="{AD0265F3-4D1A-7D41-BF60-8182268D4F3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67140" y="5451133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51" name="Stat 2">
            <a:extLst>
              <a:ext uri="{FF2B5EF4-FFF2-40B4-BE49-F238E27FC236}">
                <a16:creationId xmlns:a16="http://schemas.microsoft.com/office/drawing/2014/main" id="{67E90FE2-CD3B-8049-88E7-E583DDC94D4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71477" y="4176571"/>
            <a:ext cx="2441567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5M</a:t>
            </a:r>
          </a:p>
        </p:txBody>
      </p:sp>
      <p:sp>
        <p:nvSpPr>
          <p:cNvPr id="53" name="Stat 2 caption">
            <a:extLst>
              <a:ext uri="{FF2B5EF4-FFF2-40B4-BE49-F238E27FC236}">
                <a16:creationId xmlns:a16="http://schemas.microsoft.com/office/drawing/2014/main" id="{E0AAA0E1-067E-5E46-84AD-C18938B78D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503010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55" name="Stat 2 Copy">
            <a:extLst>
              <a:ext uri="{FF2B5EF4-FFF2-40B4-BE49-F238E27FC236}">
                <a16:creationId xmlns:a16="http://schemas.microsoft.com/office/drawing/2014/main" id="{68C6FB9C-6833-F949-A1CB-672E8F902AD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85668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68" name="Stat 3">
            <a:extLst>
              <a:ext uri="{FF2B5EF4-FFF2-40B4-BE49-F238E27FC236}">
                <a16:creationId xmlns:a16="http://schemas.microsoft.com/office/drawing/2014/main" id="{D37F84E6-BEEC-C347-BF35-E224CF12A562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95031" y="4176571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15%</a:t>
            </a:r>
          </a:p>
        </p:txBody>
      </p:sp>
      <p:sp>
        <p:nvSpPr>
          <p:cNvPr id="69" name="Stat 3 caption">
            <a:extLst>
              <a:ext uri="{FF2B5EF4-FFF2-40B4-BE49-F238E27FC236}">
                <a16:creationId xmlns:a16="http://schemas.microsoft.com/office/drawing/2014/main" id="{4091B827-BD48-3845-A649-E3F411B59FF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26563" y="50156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hree</a:t>
            </a:r>
          </a:p>
        </p:txBody>
      </p:sp>
      <p:sp>
        <p:nvSpPr>
          <p:cNvPr id="70" name="Stat 3 copy">
            <a:extLst>
              <a:ext uri="{FF2B5EF4-FFF2-40B4-BE49-F238E27FC236}">
                <a16:creationId xmlns:a16="http://schemas.microsoft.com/office/drawing/2014/main" id="{517CBC8F-6DC5-B447-AB17-999EEEB3ECD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09221" y="54575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73" name="Stat 4">
            <a:extLst>
              <a:ext uri="{FF2B5EF4-FFF2-40B4-BE49-F238E27FC236}">
                <a16:creationId xmlns:a16="http://schemas.microsoft.com/office/drawing/2014/main" id="{8BEC1142-9771-314C-B68C-DA151419BBF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117967" y="4180771"/>
            <a:ext cx="2301403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.3K</a:t>
            </a:r>
          </a:p>
          <a:p>
            <a:pPr lvl="0"/>
            <a:endParaRPr lang="en-US"/>
          </a:p>
        </p:txBody>
      </p:sp>
      <p:sp>
        <p:nvSpPr>
          <p:cNvPr id="74" name="Stat 4 caption">
            <a:extLst>
              <a:ext uri="{FF2B5EF4-FFF2-40B4-BE49-F238E27FC236}">
                <a16:creationId xmlns:a16="http://schemas.microsoft.com/office/drawing/2014/main" id="{C5CA4CF6-97DE-F940-9A01-DAF0E307ABC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149500" y="501983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Four</a:t>
            </a:r>
          </a:p>
        </p:txBody>
      </p:sp>
      <p:sp>
        <p:nvSpPr>
          <p:cNvPr id="75" name="Stat 4 Copy">
            <a:extLst>
              <a:ext uri="{FF2B5EF4-FFF2-40B4-BE49-F238E27FC236}">
                <a16:creationId xmlns:a16="http://schemas.microsoft.com/office/drawing/2014/main" id="{A3C1FD35-204F-ED4E-85E0-D19F8AEBD05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32158" y="546176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</a:t>
            </a:r>
            <a:br>
              <a:rPr lang="en-US"/>
            </a:br>
            <a:r>
              <a:rPr lang="en-US"/>
              <a:t>sed diam </a:t>
            </a:r>
            <a:r>
              <a:rPr lang="en-US" err="1"/>
              <a:t>nonummy</a:t>
            </a:r>
            <a:r>
              <a:rPr lang="en-US"/>
              <a:t> </a:t>
            </a:r>
            <a:r>
              <a:rPr lang="en-US" err="1"/>
              <a:t>nibh</a:t>
            </a:r>
            <a:r>
              <a:rPr lang="en-US"/>
              <a:t>. </a:t>
            </a:r>
          </a:p>
          <a:p>
            <a:pPr lvl="0"/>
            <a:endParaRPr lang="en-US"/>
          </a:p>
        </p:txBody>
      </p:sp>
      <p:sp>
        <p:nvSpPr>
          <p:cNvPr id="26" name="Pg">
            <a:extLst>
              <a:ext uri="{FF2B5EF4-FFF2-40B4-BE49-F238E27FC236}">
                <a16:creationId xmlns:a16="http://schemas.microsoft.com/office/drawing/2014/main" id="{E60BAC26-48D6-E248-B41C-2CCDFE986489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84211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3096">
          <p15:clr>
            <a:srgbClr val="FBAE40"/>
          </p15:clr>
        </p15:guide>
        <p15:guide id="9" pos="7310">
          <p15:clr>
            <a:srgbClr val="FBAE40"/>
          </p15:clr>
        </p15:guide>
        <p15:guide id="10" pos="347">
          <p15:clr>
            <a:srgbClr val="FBAE40"/>
          </p15:clr>
        </p15:guide>
        <p15:guide id="11" pos="483">
          <p15:clr>
            <a:srgbClr val="FBAE40"/>
          </p15:clr>
        </p15:guide>
        <p15:guide id="12" pos="7197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1946E26-8BE7-2D48-86AC-6974E1F63A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13CBDD01-29C4-1745-98AD-13788A1461C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3A98EC6B-7BB0-C948-B167-15145EFB6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E366E92-31CB-554F-81AB-17D313A7A12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1" name="Stat 1">
            <a:extLst>
              <a:ext uri="{FF2B5EF4-FFF2-40B4-BE49-F238E27FC236}">
                <a16:creationId xmlns:a16="http://schemas.microsoft.com/office/drawing/2014/main" id="{C9E00311-1B4A-3A45-B2E1-0DEC2AF42FE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3" name="Stat 1 Caption">
            <a:extLst>
              <a:ext uri="{FF2B5EF4-FFF2-40B4-BE49-F238E27FC236}">
                <a16:creationId xmlns:a16="http://schemas.microsoft.com/office/drawing/2014/main" id="{38EEFF29-C9F6-F448-9DE3-B7BED4EA285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4" name="Stat 1 Copy">
            <a:extLst>
              <a:ext uri="{FF2B5EF4-FFF2-40B4-BE49-F238E27FC236}">
                <a16:creationId xmlns:a16="http://schemas.microsoft.com/office/drawing/2014/main" id="{B83545D4-1FE8-DC43-9A81-6F250435877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5" name="Stat 2">
            <a:extLst>
              <a:ext uri="{FF2B5EF4-FFF2-40B4-BE49-F238E27FC236}">
                <a16:creationId xmlns:a16="http://schemas.microsoft.com/office/drawing/2014/main" id="{4ABC467F-D107-4747-9586-1125DD08C17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16" name="Stat 2 Caption">
            <a:extLst>
              <a:ext uri="{FF2B5EF4-FFF2-40B4-BE49-F238E27FC236}">
                <a16:creationId xmlns:a16="http://schemas.microsoft.com/office/drawing/2014/main" id="{8BD7BB4D-CE28-1E4B-9665-50E32471A5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17" name="Stat 2 Copy">
            <a:extLst>
              <a:ext uri="{FF2B5EF4-FFF2-40B4-BE49-F238E27FC236}">
                <a16:creationId xmlns:a16="http://schemas.microsoft.com/office/drawing/2014/main" id="{EB835A56-B62C-D14B-903D-610071ADC1C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0116EA0E-2BFB-CB43-BCB2-E6275846FF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8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DA4452E8-D98B-7D49-89F4-1988EA1CF4A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1" name="Chapter Title">
            <a:extLst>
              <a:ext uri="{FF2B5EF4-FFF2-40B4-BE49-F238E27FC236}">
                <a16:creationId xmlns:a16="http://schemas.microsoft.com/office/drawing/2014/main" id="{EB64CB2E-C92D-124D-B974-0B1896DAFD5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F928CD4C-6268-8747-985F-C59CF046D0E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2B551DAC-27EA-C24C-B386-EC1AF8D644A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Stat 1">
            <a:extLst>
              <a:ext uri="{FF2B5EF4-FFF2-40B4-BE49-F238E27FC236}">
                <a16:creationId xmlns:a16="http://schemas.microsoft.com/office/drawing/2014/main" id="{F98DED31-4635-444D-919C-2B2B0E840F3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23" name="Stat 1 Caption">
            <a:extLst>
              <a:ext uri="{FF2B5EF4-FFF2-40B4-BE49-F238E27FC236}">
                <a16:creationId xmlns:a16="http://schemas.microsoft.com/office/drawing/2014/main" id="{331C2C7A-A19F-4D41-AF05-994255D0A1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24" name="Stat 1 Copy">
            <a:extLst>
              <a:ext uri="{FF2B5EF4-FFF2-40B4-BE49-F238E27FC236}">
                <a16:creationId xmlns:a16="http://schemas.microsoft.com/office/drawing/2014/main" id="{085B1092-89BA-6141-A8AF-C417ED755A4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5" name="Stat 2">
            <a:extLst>
              <a:ext uri="{FF2B5EF4-FFF2-40B4-BE49-F238E27FC236}">
                <a16:creationId xmlns:a16="http://schemas.microsoft.com/office/drawing/2014/main" id="{3F2FC970-AFDD-3442-9C3D-1624B73CCDE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accent4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6" name="Stat 2 Caption">
            <a:extLst>
              <a:ext uri="{FF2B5EF4-FFF2-40B4-BE49-F238E27FC236}">
                <a16:creationId xmlns:a16="http://schemas.microsoft.com/office/drawing/2014/main" id="{2364D5FE-A84F-B94C-A9A4-9473F667299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7" name="Stat 2 Copy">
            <a:extLst>
              <a:ext uri="{FF2B5EF4-FFF2-40B4-BE49-F238E27FC236}">
                <a16:creationId xmlns:a16="http://schemas.microsoft.com/office/drawing/2014/main" id="{C7FFAD34-E2B5-C749-BB8B-450A44FC17C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Pg">
            <a:extLst>
              <a:ext uri="{FF2B5EF4-FFF2-40B4-BE49-F238E27FC236}">
                <a16:creationId xmlns:a16="http://schemas.microsoft.com/office/drawing/2014/main" id="{D5A19222-FB40-1547-B796-7486CB30C683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45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ts_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op Nav">
            <a:extLst>
              <a:ext uri="{FF2B5EF4-FFF2-40B4-BE49-F238E27FC236}">
                <a16:creationId xmlns:a16="http://schemas.microsoft.com/office/drawing/2014/main" id="{24A805ED-D40C-5C40-894F-47559BF2F622}"/>
              </a:ext>
            </a:extLst>
          </p:cNvPr>
          <p:cNvSpPr/>
          <p:nvPr userDrawn="1"/>
        </p:nvSpPr>
        <p:spPr>
          <a:xfrm>
            <a:off x="0" y="728662"/>
            <a:ext cx="12192000" cy="612933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CF8A6E-8B6C-6747-84E2-7847C60A12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5" name="Chapter Title">
            <a:extLst>
              <a:ext uri="{FF2B5EF4-FFF2-40B4-BE49-F238E27FC236}">
                <a16:creationId xmlns:a16="http://schemas.microsoft.com/office/drawing/2014/main" id="{7F34424B-8820-7344-948C-E6A37BDAAA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018194" y="267700"/>
            <a:ext cx="2493543" cy="211306"/>
          </a:xfr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1B342B07-82AB-0B4B-B28F-D846667724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3873" y="1020117"/>
            <a:ext cx="10750091" cy="36537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Slide Titl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1DD162E7-2D04-F14B-8AE4-67BBDF2FB66D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0" y="1987867"/>
            <a:ext cx="8175625" cy="4074286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Stat 1">
            <a:extLst>
              <a:ext uri="{FF2B5EF4-FFF2-40B4-BE49-F238E27FC236}">
                <a16:creationId xmlns:a16="http://schemas.microsoft.com/office/drawing/2014/main" id="{8719B257-7CF2-6F44-B644-631E6E5FD3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741850" y="1856499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90%</a:t>
            </a:r>
          </a:p>
        </p:txBody>
      </p:sp>
      <p:sp>
        <p:nvSpPr>
          <p:cNvPr id="18" name="Stat 1 Caption">
            <a:extLst>
              <a:ext uri="{FF2B5EF4-FFF2-40B4-BE49-F238E27FC236}">
                <a16:creationId xmlns:a16="http://schemas.microsoft.com/office/drawing/2014/main" id="{57760C02-0E47-7F4E-A806-343D2358533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741850" y="2727092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One</a:t>
            </a:r>
          </a:p>
        </p:txBody>
      </p:sp>
      <p:sp>
        <p:nvSpPr>
          <p:cNvPr id="19" name="Stat 1 Copy">
            <a:extLst>
              <a:ext uri="{FF2B5EF4-FFF2-40B4-BE49-F238E27FC236}">
                <a16:creationId xmlns:a16="http://schemas.microsoft.com/office/drawing/2014/main" id="{EBA0D26B-DB92-4246-9287-4BA2780352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56040" y="3169026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20" name="Stat 2">
            <a:extLst>
              <a:ext uri="{FF2B5EF4-FFF2-40B4-BE49-F238E27FC236}">
                <a16:creationId xmlns:a16="http://schemas.microsoft.com/office/drawing/2014/main" id="{B255A082-26C5-3C48-A4C3-084ADA5B701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89148" y="4177238"/>
            <a:ext cx="2097088" cy="146050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64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r>
              <a:rPr lang="en-US"/>
              <a:t>25%</a:t>
            </a:r>
          </a:p>
        </p:txBody>
      </p:sp>
      <p:sp>
        <p:nvSpPr>
          <p:cNvPr id="21" name="Stat 2 Caption">
            <a:extLst>
              <a:ext uri="{FF2B5EF4-FFF2-40B4-BE49-F238E27FC236}">
                <a16:creationId xmlns:a16="http://schemas.microsoft.com/office/drawing/2014/main" id="{A2FDE0EB-7516-884E-8EAB-A79C468518D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789148" y="5047831"/>
            <a:ext cx="2683388" cy="457702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Title Two</a:t>
            </a:r>
          </a:p>
        </p:txBody>
      </p:sp>
      <p:sp>
        <p:nvSpPr>
          <p:cNvPr id="22" name="Stat 2 Copy">
            <a:extLst>
              <a:ext uri="{FF2B5EF4-FFF2-40B4-BE49-F238E27FC236}">
                <a16:creationId xmlns:a16="http://schemas.microsoft.com/office/drawing/2014/main" id="{26318E31-81CB-5441-B056-B8D276EEF00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803338" y="5489765"/>
            <a:ext cx="2397125" cy="1006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e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</a:t>
            </a:r>
            <a:r>
              <a:rPr lang="en-US"/>
              <a:t>.. </a:t>
            </a:r>
          </a:p>
          <a:p>
            <a:pPr lvl="0"/>
            <a:endParaRPr lang="en-US"/>
          </a:p>
        </p:txBody>
      </p:sp>
      <p:sp>
        <p:nvSpPr>
          <p:cNvPr id="16" name="Pg">
            <a:extLst>
              <a:ext uri="{FF2B5EF4-FFF2-40B4-BE49-F238E27FC236}">
                <a16:creationId xmlns:a16="http://schemas.microsoft.com/office/drawing/2014/main" id="{82F9A6A3-1428-324C-BC1A-CD4F519AE9C5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 algn="r">
              <a:buFont typeface="Arial" panose="020B0604020202020204" pitchFamily="34" charset="0"/>
              <a:buNone/>
            </a:pPr>
            <a:fld id="{09A0AA2B-59AF-AC42-A2FB-2655C6F27CD8}" type="slidenum">
              <a:rPr lang="en-US" sz="12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marL="0" indent="0" algn="r">
                <a:buFont typeface="Arial" panose="020B0604020202020204" pitchFamily="34" charset="0"/>
                <a:buNone/>
              </a:pPr>
              <a:t>‹#›</a:t>
            </a:fld>
            <a:endParaRPr lang="en-US" sz="14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60018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3840">
          <p15:clr>
            <a:srgbClr val="FBAE40"/>
          </p15:clr>
        </p15:guide>
        <p15:guide id="4" orient="horz" pos="459">
          <p15:clr>
            <a:srgbClr val="FBAE40"/>
          </p15:clr>
        </p15:guide>
        <p15:guide id="5" pos="347">
          <p15:clr>
            <a:srgbClr val="FBAE40"/>
          </p15:clr>
        </p15:guide>
        <p15:guide id="6" pos="7310">
          <p15:clr>
            <a:srgbClr val="FBAE40"/>
          </p15:clr>
        </p15:guide>
        <p15:guide id="7" pos="7197">
          <p15:clr>
            <a:srgbClr val="FBAE40"/>
          </p15:clr>
        </p15:guide>
        <p15:guide id="8" pos="48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2EA4367-3689-7945-B203-0D5FD9A1E7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22" name="Chapter Title">
            <a:extLst>
              <a:ext uri="{FF2B5EF4-FFF2-40B4-BE49-F238E27FC236}">
                <a16:creationId xmlns:a16="http://schemas.microsoft.com/office/drawing/2014/main" id="{50B2CB3F-B6DB-5040-BDF4-7D5177457F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19" name="Pg">
            <a:extLst>
              <a:ext uri="{FF2B5EF4-FFF2-40B4-BE49-F238E27FC236}">
                <a16:creationId xmlns:a16="http://schemas.microsoft.com/office/drawing/2014/main" id="{3FA4234B-1496-4443-A1CD-3B9779E171F4}"/>
              </a:ext>
            </a:extLst>
          </p:cNvPr>
          <p:cNvSpPr txBox="1"/>
          <p:nvPr userDrawn="1"/>
        </p:nvSpPr>
        <p:spPr>
          <a:xfrm>
            <a:off x="10252638" y="63496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04961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456">
          <p15:clr>
            <a:srgbClr val="FBAE40"/>
          </p15:clr>
        </p15:guide>
        <p15:guide id="6" pos="347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8DB4CB4-1406-7FBC-0880-CB7AB119A95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26603" y="1478642"/>
            <a:ext cx="2133798" cy="4871033"/>
          </a:xfrm>
          <a:prstGeom prst="rect">
            <a:avLst/>
          </a:prstGeom>
        </p:spPr>
      </p:pic>
      <p:sp>
        <p:nvSpPr>
          <p:cNvPr id="5" name="Footer Placeholder 5">
            <a:extLst>
              <a:ext uri="{FF2B5EF4-FFF2-40B4-BE49-F238E27FC236}">
                <a16:creationId xmlns:a16="http://schemas.microsoft.com/office/drawing/2014/main" id="{A96E7CA0-8C3C-3EBD-6ED3-9BB769E80B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1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7" name="Pg">
            <a:extLst>
              <a:ext uri="{FF2B5EF4-FFF2-40B4-BE49-F238E27FC236}">
                <a16:creationId xmlns:a16="http://schemas.microsoft.com/office/drawing/2014/main" id="{72137697-89EC-9F1C-0D19-51DF4306ED77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6652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19D03A-D2EB-A738-BA8D-A429CF6572F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59809" y="1366152"/>
            <a:ext cx="2133800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8DFB25E2-62AC-989D-869E-A1139CC8209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rgbClr val="092467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1E4CAEF0-50E4-ADAC-E4A7-03D572F8956D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80959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_With Image_VIO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06215D62-F21F-4A4B-A825-F22D58273F51}"/>
              </a:ext>
            </a:extLst>
          </p:cNvPr>
          <p:cNvSpPr/>
          <p:nvPr userDrawn="1"/>
        </p:nvSpPr>
        <p:spPr>
          <a:xfrm>
            <a:off x="0" y="745340"/>
            <a:ext cx="2936186" cy="611266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7D88A5F-5A6A-CE48-F65D-46990A73FB73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47387" y="1330058"/>
            <a:ext cx="2133799" cy="4871033"/>
          </a:xfrm>
          <a:prstGeom prst="rect">
            <a:avLst/>
          </a:prstGeom>
        </p:spPr>
      </p:pic>
      <p:sp>
        <p:nvSpPr>
          <p:cNvPr id="2" name="Footer Placeholder 5">
            <a:extLst>
              <a:ext uri="{FF2B5EF4-FFF2-40B4-BE49-F238E27FC236}">
                <a16:creationId xmlns:a16="http://schemas.microsoft.com/office/drawing/2014/main" id="{BFF64230-07C6-7B2F-A4C6-3382A20E666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3"/>
          </p:nvPr>
        </p:nvSpPr>
        <p:spPr>
          <a:xfrm>
            <a:off x="750408" y="190253"/>
            <a:ext cx="4114800" cy="365125"/>
          </a:xfrm>
        </p:spPr>
        <p:txBody>
          <a:bodyPr/>
          <a:lstStyle/>
          <a:p>
            <a:r>
              <a:rPr lang="en-US"/>
              <a:t>McGraw Hill Template</a:t>
            </a:r>
          </a:p>
        </p:txBody>
      </p:sp>
      <p:sp>
        <p:nvSpPr>
          <p:cNvPr id="13" name="Chapter Title">
            <a:extLst>
              <a:ext uri="{FF2B5EF4-FFF2-40B4-BE49-F238E27FC236}">
                <a16:creationId xmlns:a16="http://schemas.microsoft.com/office/drawing/2014/main" id="{7B43E552-B673-1640-B79B-84C6D46FC5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hapter Titl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5C31E9C7-4D19-7249-97FA-896A5C6A3AC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225018" y="2094403"/>
            <a:ext cx="3422336" cy="3414533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3"/>
            </a:solidFill>
          </a:ln>
        </p:spPr>
        <p:txBody>
          <a:bodyPr/>
          <a:lstStyle/>
          <a:p>
            <a:endParaRPr lang="en-US"/>
          </a:p>
        </p:txBody>
      </p:sp>
      <p:pic>
        <p:nvPicPr>
          <p:cNvPr id="3" name="Graphic 2" descr="Open quotation mark with solid fill">
            <a:extLst>
              <a:ext uri="{FF2B5EF4-FFF2-40B4-BE49-F238E27FC236}">
                <a16:creationId xmlns:a16="http://schemas.microsoft.com/office/drawing/2014/main" id="{0091E98B-94CD-0EFC-386E-71CD64E08A8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93589" y="1534550"/>
            <a:ext cx="1634197" cy="1634197"/>
          </a:xfrm>
          <a:prstGeom prst="rect">
            <a:avLst/>
          </a:prstGeom>
        </p:spPr>
      </p:pic>
      <p:sp>
        <p:nvSpPr>
          <p:cNvPr id="21" name="Body Text">
            <a:extLst>
              <a:ext uri="{FF2B5EF4-FFF2-40B4-BE49-F238E27FC236}">
                <a16:creationId xmlns:a16="http://schemas.microsoft.com/office/drawing/2014/main" id="{CC4D9388-2080-2A43-9139-A3C1B9078C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6000" y="2147157"/>
            <a:ext cx="5307918" cy="252331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1200"/>
              </a:spcBef>
              <a:buNone/>
              <a:defRPr sz="2000" b="1"/>
            </a:lvl1pPr>
          </a:lstStyle>
          <a:p>
            <a:pPr lvl="0"/>
            <a:r>
              <a:rPr lang="en-US"/>
              <a:t>Lorem ipsum dolor sit amet, consectetuer adipiscing elit, sed diam nonummy nibh euismod tincidunt ut laoreet dolore magna </a:t>
            </a:r>
            <a:r>
              <a:rPr lang="en-US" err="1"/>
              <a:t>aliquam</a:t>
            </a:r>
            <a:r>
              <a:rPr lang="en-US"/>
              <a:t> erat volutpat. Ut </a:t>
            </a:r>
            <a:r>
              <a:rPr lang="en-US" err="1"/>
              <a:t>wisi</a:t>
            </a:r>
            <a:r>
              <a:rPr lang="en-US"/>
              <a:t> </a:t>
            </a:r>
            <a:r>
              <a:rPr lang="en-US" err="1"/>
              <a:t>enim</a:t>
            </a:r>
            <a:r>
              <a:rPr lang="en-US"/>
              <a:t> ad minim </a:t>
            </a:r>
            <a:r>
              <a:rPr lang="en-US" err="1"/>
              <a:t>veniam</a:t>
            </a:r>
            <a:r>
              <a:rPr lang="en-US"/>
              <a:t>, </a:t>
            </a:r>
            <a:r>
              <a:rPr lang="en-US" err="1"/>
              <a:t>quis</a:t>
            </a:r>
            <a:r>
              <a:rPr lang="en-US"/>
              <a:t> </a:t>
            </a:r>
            <a:r>
              <a:rPr lang="en-US" err="1"/>
              <a:t>nostrud</a:t>
            </a:r>
            <a:r>
              <a:rPr lang="en-US"/>
              <a:t> </a:t>
            </a:r>
            <a:r>
              <a:rPr lang="en-US" err="1"/>
              <a:t>exerci</a:t>
            </a:r>
            <a:r>
              <a:rPr lang="en-US"/>
              <a:t> </a:t>
            </a:r>
            <a:r>
              <a:rPr lang="en-US" err="1"/>
              <a:t>tation</a:t>
            </a:r>
            <a:r>
              <a:rPr lang="en-US"/>
              <a:t> </a:t>
            </a:r>
            <a:r>
              <a:rPr lang="en-US" err="1"/>
              <a:t>ullamcorper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 </a:t>
            </a:r>
            <a:r>
              <a:rPr lang="en-US" err="1"/>
              <a:t>lobortis</a:t>
            </a:r>
            <a:r>
              <a:rPr lang="en-US"/>
              <a:t> </a:t>
            </a:r>
            <a:r>
              <a:rPr lang="en-US" err="1"/>
              <a:t>nisl</a:t>
            </a:r>
            <a:r>
              <a:rPr lang="en-US"/>
              <a:t> ut </a:t>
            </a:r>
            <a:r>
              <a:rPr lang="en-US" err="1"/>
              <a:t>aliquip</a:t>
            </a:r>
            <a:r>
              <a:rPr lang="en-US"/>
              <a:t> ex </a:t>
            </a:r>
            <a:r>
              <a:rPr lang="en-US" err="1"/>
              <a:t>ea</a:t>
            </a:r>
            <a:r>
              <a:rPr lang="en-US"/>
              <a:t> </a:t>
            </a:r>
            <a:r>
              <a:rPr lang="en-US" err="1"/>
              <a:t>commodo</a:t>
            </a:r>
            <a:r>
              <a:rPr lang="en-US"/>
              <a:t> </a:t>
            </a:r>
            <a:r>
              <a:rPr lang="en-US" err="1"/>
              <a:t>consequat</a:t>
            </a:r>
            <a:r>
              <a:rPr lang="en-US"/>
              <a:t> </a:t>
            </a:r>
            <a:r>
              <a:rPr lang="en-US" err="1"/>
              <a:t>suscipit</a:t>
            </a:r>
            <a:r>
              <a:rPr lang="en-US"/>
              <a:t>.” </a:t>
            </a:r>
          </a:p>
        </p:txBody>
      </p:sp>
      <p:sp>
        <p:nvSpPr>
          <p:cNvPr id="4" name="Body Text">
            <a:extLst>
              <a:ext uri="{FF2B5EF4-FFF2-40B4-BE49-F238E27FC236}">
                <a16:creationId xmlns:a16="http://schemas.microsoft.com/office/drawing/2014/main" id="{F1669429-6EEF-E422-73A6-E58F7337F4E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0" y="5023091"/>
            <a:ext cx="5307918" cy="48299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1200"/>
              </a:spcBef>
              <a:buNone/>
              <a:defRPr sz="2000" b="0"/>
            </a:lvl1pPr>
          </a:lstStyle>
          <a:p>
            <a:pPr lvl="0"/>
            <a:r>
              <a:rPr lang="en-US"/>
              <a:t>- Quote Attribution</a:t>
            </a:r>
          </a:p>
        </p:txBody>
      </p:sp>
      <p:sp>
        <p:nvSpPr>
          <p:cNvPr id="5" name="Pg">
            <a:extLst>
              <a:ext uri="{FF2B5EF4-FFF2-40B4-BE49-F238E27FC236}">
                <a16:creationId xmlns:a16="http://schemas.microsoft.com/office/drawing/2014/main" id="{33CDB57F-9CE5-5F88-4534-111CCA922852}"/>
              </a:ext>
            </a:extLst>
          </p:cNvPr>
          <p:cNvSpPr txBox="1"/>
          <p:nvPr userDrawn="1"/>
        </p:nvSpPr>
        <p:spPr>
          <a:xfrm>
            <a:off x="10405038" y="6502075"/>
            <a:ext cx="1172600" cy="15344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09A0AA2B-59AF-AC42-A2FB-2655C6F27CD8}" type="slidenum">
              <a:rPr lang="en-US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‹#›</a:t>
            </a:fld>
            <a:endParaRPr lang="en-US" sz="14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5101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6">
          <p15:clr>
            <a:srgbClr val="FBAE40"/>
          </p15:clr>
        </p15:guide>
        <p15:guide id="7" pos="483">
          <p15:clr>
            <a:srgbClr val="FBAE40"/>
          </p15:clr>
        </p15:guide>
        <p15:guide id="8" pos="7197">
          <p15:clr>
            <a:srgbClr val="FBAE40"/>
          </p15:clr>
        </p15:guide>
        <p15:guide id="10" pos="3636">
          <p15:clr>
            <a:srgbClr val="FBAE40"/>
          </p15:clr>
        </p15:guide>
        <p15:guide id="11" pos="3999">
          <p15:clr>
            <a:srgbClr val="FBAE40"/>
          </p15:clr>
        </p15:guide>
        <p15:guide id="13" orient="horz" pos="1094">
          <p15:clr>
            <a:srgbClr val="FBAE40"/>
          </p15:clr>
        </p15:guide>
        <p15:guide id="14" orient="horz" pos="845">
          <p15:clr>
            <a:srgbClr val="FBAE40"/>
          </p15:clr>
        </p15:guide>
        <p15:guide id="15" pos="73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5" Type="http://schemas.openxmlformats.org/officeDocument/2006/relationships/theme" Target="../theme/theme10.xml"/><Relationship Id="rId4" Type="http://schemas.openxmlformats.org/officeDocument/2006/relationships/slideLayout" Target="../slideLayouts/slideLayout115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slideLayout" Target="../slideLayouts/slideLayout128.xml"/><Relationship Id="rId18" Type="http://schemas.openxmlformats.org/officeDocument/2006/relationships/slideLayout" Target="../slideLayouts/slideLayout133.xml"/><Relationship Id="rId3" Type="http://schemas.openxmlformats.org/officeDocument/2006/relationships/slideLayout" Target="../slideLayouts/slideLayout118.xml"/><Relationship Id="rId21" Type="http://schemas.openxmlformats.org/officeDocument/2006/relationships/image" Target="../media/image14.emf"/><Relationship Id="rId7" Type="http://schemas.openxmlformats.org/officeDocument/2006/relationships/slideLayout" Target="../slideLayouts/slideLayout122.xml"/><Relationship Id="rId12" Type="http://schemas.openxmlformats.org/officeDocument/2006/relationships/slideLayout" Target="../slideLayouts/slideLayout127.xml"/><Relationship Id="rId17" Type="http://schemas.openxmlformats.org/officeDocument/2006/relationships/slideLayout" Target="../slideLayouts/slideLayout132.xml"/><Relationship Id="rId2" Type="http://schemas.openxmlformats.org/officeDocument/2006/relationships/slideLayout" Target="../slideLayouts/slideLayout117.xml"/><Relationship Id="rId16" Type="http://schemas.openxmlformats.org/officeDocument/2006/relationships/slideLayout" Target="../slideLayouts/slideLayout131.xml"/><Relationship Id="rId20" Type="http://schemas.openxmlformats.org/officeDocument/2006/relationships/theme" Target="../theme/theme11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5" Type="http://schemas.openxmlformats.org/officeDocument/2006/relationships/slideLayout" Target="../slideLayouts/slideLayout130.xml"/><Relationship Id="rId10" Type="http://schemas.openxmlformats.org/officeDocument/2006/relationships/slideLayout" Target="../slideLayouts/slideLayout125.xml"/><Relationship Id="rId19" Type="http://schemas.openxmlformats.org/officeDocument/2006/relationships/slideLayout" Target="../slideLayouts/slideLayout134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Relationship Id="rId14" Type="http://schemas.openxmlformats.org/officeDocument/2006/relationships/slideLayout" Target="../slideLayouts/slideLayout129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2.xml"/><Relationship Id="rId13" Type="http://schemas.openxmlformats.org/officeDocument/2006/relationships/slideLayout" Target="../slideLayouts/slideLayout147.xml"/><Relationship Id="rId18" Type="http://schemas.openxmlformats.org/officeDocument/2006/relationships/image" Target="../media/image24.emf"/><Relationship Id="rId3" Type="http://schemas.openxmlformats.org/officeDocument/2006/relationships/slideLayout" Target="../slideLayouts/slideLayout137.xml"/><Relationship Id="rId7" Type="http://schemas.openxmlformats.org/officeDocument/2006/relationships/slideLayout" Target="../slideLayouts/slideLayout141.xml"/><Relationship Id="rId12" Type="http://schemas.openxmlformats.org/officeDocument/2006/relationships/slideLayout" Target="../slideLayouts/slideLayout146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136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135.xml"/><Relationship Id="rId6" Type="http://schemas.openxmlformats.org/officeDocument/2006/relationships/slideLayout" Target="../slideLayouts/slideLayout140.xml"/><Relationship Id="rId11" Type="http://schemas.openxmlformats.org/officeDocument/2006/relationships/slideLayout" Target="../slideLayouts/slideLayout145.xml"/><Relationship Id="rId5" Type="http://schemas.openxmlformats.org/officeDocument/2006/relationships/slideLayout" Target="../slideLayouts/slideLayout139.xml"/><Relationship Id="rId15" Type="http://schemas.openxmlformats.org/officeDocument/2006/relationships/theme" Target="../theme/theme12.xml"/><Relationship Id="rId10" Type="http://schemas.openxmlformats.org/officeDocument/2006/relationships/slideLayout" Target="../slideLayouts/slideLayout144.xml"/><Relationship Id="rId4" Type="http://schemas.openxmlformats.org/officeDocument/2006/relationships/slideLayout" Target="../slideLayouts/slideLayout138.xml"/><Relationship Id="rId9" Type="http://schemas.openxmlformats.org/officeDocument/2006/relationships/slideLayout" Target="../slideLayouts/slideLayout143.xml"/><Relationship Id="rId14" Type="http://schemas.openxmlformats.org/officeDocument/2006/relationships/slideLayout" Target="../slideLayouts/slideLayout148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4.emf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32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4.emf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2.xml"/><Relationship Id="rId18" Type="http://schemas.openxmlformats.org/officeDocument/2006/relationships/slideLayout" Target="../slideLayouts/slideLayout67.xml"/><Relationship Id="rId26" Type="http://schemas.openxmlformats.org/officeDocument/2006/relationships/slideLayout" Target="../slideLayouts/slideLayout75.xml"/><Relationship Id="rId3" Type="http://schemas.openxmlformats.org/officeDocument/2006/relationships/slideLayout" Target="../slideLayouts/slideLayout52.xml"/><Relationship Id="rId21" Type="http://schemas.openxmlformats.org/officeDocument/2006/relationships/slideLayout" Target="../slideLayouts/slideLayout70.xml"/><Relationship Id="rId34" Type="http://schemas.openxmlformats.org/officeDocument/2006/relationships/theme" Target="../theme/theme6.xml"/><Relationship Id="rId7" Type="http://schemas.openxmlformats.org/officeDocument/2006/relationships/slideLayout" Target="../slideLayouts/slideLayout56.xml"/><Relationship Id="rId12" Type="http://schemas.openxmlformats.org/officeDocument/2006/relationships/slideLayout" Target="../slideLayouts/slideLayout61.xml"/><Relationship Id="rId17" Type="http://schemas.openxmlformats.org/officeDocument/2006/relationships/slideLayout" Target="../slideLayouts/slideLayout66.xml"/><Relationship Id="rId25" Type="http://schemas.openxmlformats.org/officeDocument/2006/relationships/slideLayout" Target="../slideLayouts/slideLayout74.xml"/><Relationship Id="rId33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1.xml"/><Relationship Id="rId1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69.xml"/><Relationship Id="rId29" Type="http://schemas.openxmlformats.org/officeDocument/2006/relationships/slideLayout" Target="../slideLayouts/slideLayout78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slideLayout" Target="../slideLayouts/slideLayout60.xml"/><Relationship Id="rId24" Type="http://schemas.openxmlformats.org/officeDocument/2006/relationships/slideLayout" Target="../slideLayouts/slideLayout73.xml"/><Relationship Id="rId32" Type="http://schemas.openxmlformats.org/officeDocument/2006/relationships/slideLayout" Target="../slideLayouts/slideLayout81.xml"/><Relationship Id="rId5" Type="http://schemas.openxmlformats.org/officeDocument/2006/relationships/slideLayout" Target="../slideLayouts/slideLayout54.xml"/><Relationship Id="rId15" Type="http://schemas.openxmlformats.org/officeDocument/2006/relationships/slideLayout" Target="../slideLayouts/slideLayout64.xml"/><Relationship Id="rId23" Type="http://schemas.openxmlformats.org/officeDocument/2006/relationships/slideLayout" Target="../slideLayouts/slideLayout72.xml"/><Relationship Id="rId28" Type="http://schemas.openxmlformats.org/officeDocument/2006/relationships/slideLayout" Target="../slideLayouts/slideLayout77.xml"/><Relationship Id="rId10" Type="http://schemas.openxmlformats.org/officeDocument/2006/relationships/slideLayout" Target="../slideLayouts/slideLayout59.xml"/><Relationship Id="rId19" Type="http://schemas.openxmlformats.org/officeDocument/2006/relationships/slideLayout" Target="../slideLayouts/slideLayout68.xml"/><Relationship Id="rId31" Type="http://schemas.openxmlformats.org/officeDocument/2006/relationships/slideLayout" Target="../slideLayouts/slideLayout80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slideLayout" Target="../slideLayouts/slideLayout63.xml"/><Relationship Id="rId22" Type="http://schemas.openxmlformats.org/officeDocument/2006/relationships/slideLayout" Target="../slideLayouts/slideLayout71.xml"/><Relationship Id="rId27" Type="http://schemas.openxmlformats.org/officeDocument/2006/relationships/slideLayout" Target="../slideLayouts/slideLayout76.xml"/><Relationship Id="rId30" Type="http://schemas.openxmlformats.org/officeDocument/2006/relationships/slideLayout" Target="../slideLayouts/slideLayout79.xml"/><Relationship Id="rId35" Type="http://schemas.openxmlformats.org/officeDocument/2006/relationships/image" Target="../media/image14.emf"/><Relationship Id="rId8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0.xml"/><Relationship Id="rId13" Type="http://schemas.openxmlformats.org/officeDocument/2006/relationships/slideLayout" Target="../slideLayouts/slideLayout95.xml"/><Relationship Id="rId3" Type="http://schemas.openxmlformats.org/officeDocument/2006/relationships/slideLayout" Target="../slideLayouts/slideLayout85.xml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2" Type="http://schemas.openxmlformats.org/officeDocument/2006/relationships/slideLayout" Target="../slideLayouts/slideLayout84.xml"/><Relationship Id="rId16" Type="http://schemas.openxmlformats.org/officeDocument/2006/relationships/image" Target="../media/image14.emf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5" Type="http://schemas.openxmlformats.org/officeDocument/2006/relationships/slideLayout" Target="../slideLayouts/slideLayout87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2.xml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99.xml"/><Relationship Id="rId7" Type="http://schemas.openxmlformats.org/officeDocument/2006/relationships/slideLayout" Target="../slideLayouts/slideLayout103.xml"/><Relationship Id="rId2" Type="http://schemas.openxmlformats.org/officeDocument/2006/relationships/slideLayout" Target="../slideLayouts/slideLayout98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image" Target="../media/image14.emf"/><Relationship Id="rId5" Type="http://schemas.openxmlformats.org/officeDocument/2006/relationships/slideLayout" Target="../slideLayouts/slideLayout101.xml"/><Relationship Id="rId10" Type="http://schemas.openxmlformats.org/officeDocument/2006/relationships/theme" Target="../theme/theme8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slideLayout" Target="../slideLayouts/slideLayout108.xml"/><Relationship Id="rId7" Type="http://schemas.openxmlformats.org/officeDocument/2006/relationships/theme" Target="../theme/theme9.xml"/><Relationship Id="rId2" Type="http://schemas.openxmlformats.org/officeDocument/2006/relationships/slideLayout" Target="../slideLayouts/slideLayout107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24796446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4019" r:id="rId6"/>
    <p:sldLayoutId id="2147483666" r:id="rId7"/>
    <p:sldLayoutId id="2147484018" r:id="rId8"/>
    <p:sldLayoutId id="2147483667" r:id="rId9"/>
    <p:sldLayoutId id="2147484017" r:id="rId10"/>
    <p:sldLayoutId id="2147483668" r:id="rId11"/>
    <p:sldLayoutId id="2147483669" r:id="rId12"/>
    <p:sldLayoutId id="2147484025" r:id="rId13"/>
    <p:sldLayoutId id="2147483670" r:id="rId14"/>
    <p:sldLayoutId id="2147483671" r:id="rId15"/>
    <p:sldLayoutId id="2147483672" r:id="rId16"/>
    <p:sldLayoutId id="2147484026" r:id="rId17"/>
    <p:sldLayoutId id="2147483673" r:id="rId18"/>
    <p:sldLayoutId id="2147484030" r:id="rId19"/>
    <p:sldLayoutId id="2147484031" r:id="rId20"/>
    <p:sldLayoutId id="2147484038" r:id="rId2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10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3429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indent="-28575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7">
            <a:extLst>
              <a:ext uri="{FF2B5EF4-FFF2-40B4-BE49-F238E27FC236}">
                <a16:creationId xmlns:a16="http://schemas.microsoft.com/office/drawing/2014/main" id="{1786E930-AFA0-0F43-AA19-D751AD4C7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PowerPoint Template</a:t>
            </a:r>
          </a:p>
        </p:txBody>
      </p:sp>
    </p:spTree>
    <p:extLst>
      <p:ext uri="{BB962C8B-B14F-4D97-AF65-F5344CB8AC3E}">
        <p14:creationId xmlns:p14="http://schemas.microsoft.com/office/powerpoint/2010/main" val="13973039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4024" r:id="rId3"/>
    <p:sldLayoutId id="2147483875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5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2000" b="1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73649380-23AE-854E-9BC8-848AEBBD08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333333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400" b="0" i="0" u="none" strike="noStrike" kern="1200" cap="none" spc="0" normalizeH="0" baseline="0" noProof="0">
              <a:ln>
                <a:noFill/>
              </a:ln>
              <a:solidFill>
                <a:srgbClr val="333333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3195602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1" r:id="rId1"/>
    <p:sldLayoutId id="2147483882" r:id="rId2"/>
    <p:sldLayoutId id="2147483925" r:id="rId3"/>
    <p:sldLayoutId id="2147483883" r:id="rId4"/>
    <p:sldLayoutId id="2147483896" r:id="rId5"/>
    <p:sldLayoutId id="2147483898" r:id="rId6"/>
    <p:sldLayoutId id="2147483897" r:id="rId7"/>
    <p:sldLayoutId id="2147483880" r:id="rId8"/>
    <p:sldLayoutId id="2147483869" r:id="rId9"/>
    <p:sldLayoutId id="2147483885" r:id="rId10"/>
    <p:sldLayoutId id="2147483886" r:id="rId11"/>
    <p:sldLayoutId id="2147483888" r:id="rId12"/>
    <p:sldLayoutId id="2147483922" r:id="rId13"/>
    <p:sldLayoutId id="2147483923" r:id="rId14"/>
    <p:sldLayoutId id="2147483924" r:id="rId15"/>
    <p:sldLayoutId id="2147483887" r:id="rId16"/>
    <p:sldLayoutId id="2147483966" r:id="rId17"/>
    <p:sldLayoutId id="2147483967" r:id="rId18"/>
    <p:sldLayoutId id="2147483968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6" pos="3840" userDrawn="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2285" y="315430"/>
            <a:ext cx="11313466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2285" y="1825625"/>
            <a:ext cx="11313466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67B5927-1581-294F-B094-8C1C0027CF4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5684134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6" imgH="403" progId="TCLayout.ActiveDocument.1">
                  <p:embed/>
                </p:oleObj>
              </mc:Choice>
              <mc:Fallback>
                <p:oleObj name="think-cell Slide" r:id="rId17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67B5927-1581-294F-B094-8C1C0027CF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506F0E88-EA22-6F44-8DFA-A231331C1A4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915629" y="6356350"/>
            <a:ext cx="5378245" cy="365125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Magazine Grotesque" pitchFamily="2" charset="77"/>
              </a:defRPr>
            </a:lvl1pPr>
          </a:lstStyle>
          <a:p>
            <a:endParaRPr lang="en-US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F55026A7-14AA-E140-B827-E87D9F8435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2285" y="6356350"/>
            <a:ext cx="432619" cy="365125"/>
          </a:xfrm>
          <a:prstGeom prst="rect">
            <a:avLst/>
          </a:prstGeom>
        </p:spPr>
        <p:txBody>
          <a:bodyPr lIns="0"/>
          <a:lstStyle>
            <a:lvl1pPr algn="l">
              <a:defRPr sz="800">
                <a:latin typeface="Magazine Grotesque" pitchFamily="2" charset="77"/>
              </a:defRPr>
            </a:lvl1pPr>
          </a:lstStyle>
          <a:p>
            <a:r>
              <a:rPr lang="en-US"/>
              <a:t>77</a:t>
            </a:r>
          </a:p>
        </p:txBody>
      </p:sp>
    </p:spTree>
    <p:extLst>
      <p:ext uri="{BB962C8B-B14F-4D97-AF65-F5344CB8AC3E}">
        <p14:creationId xmlns:p14="http://schemas.microsoft.com/office/powerpoint/2010/main" val="32414458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2" r:id="rId1"/>
    <p:sldLayoutId id="2147483791" r:id="rId2"/>
    <p:sldLayoutId id="2147483803" r:id="rId3"/>
    <p:sldLayoutId id="2147483784" r:id="rId4"/>
    <p:sldLayoutId id="2147483785" r:id="rId5"/>
    <p:sldLayoutId id="2147483793" r:id="rId6"/>
    <p:sldLayoutId id="2147483795" r:id="rId7"/>
    <p:sldLayoutId id="2147483796" r:id="rId8"/>
    <p:sldLayoutId id="2147483797" r:id="rId9"/>
    <p:sldLayoutId id="2147483798" r:id="rId10"/>
    <p:sldLayoutId id="2147483799" r:id="rId11"/>
    <p:sldLayoutId id="2147483800" r:id="rId12"/>
    <p:sldLayoutId id="2147483801" r:id="rId13"/>
    <p:sldLayoutId id="214748403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Magazine Grotesque Bold" pitchFamily="2" charset="77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Magazine Grotesque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868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</p:spTree>
    <p:extLst>
      <p:ext uri="{BB962C8B-B14F-4D97-AF65-F5344CB8AC3E}">
        <p14:creationId xmlns:p14="http://schemas.microsoft.com/office/powerpoint/2010/main" val="721626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2" r:id="rId1"/>
    <p:sldLayoutId id="2147483884" r:id="rId2"/>
    <p:sldLayoutId id="2147484034" r:id="rId3"/>
    <p:sldLayoutId id="2147484033" r:id="rId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6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EFEEBE7-2301-DAE8-5FED-C2008DAEA8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22128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5" r:id="rId2"/>
    <p:sldLayoutId id="2147483729" r:id="rId3"/>
    <p:sldLayoutId id="2147483724" r:id="rId4"/>
    <p:sldLayoutId id="2147483726" r:id="rId5"/>
    <p:sldLayoutId id="2147483728" r:id="rId6"/>
    <p:sldLayoutId id="2147483727" r:id="rId7"/>
    <p:sldLayoutId id="2147483730" r:id="rId8"/>
    <p:sldLayoutId id="214748373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2864E1BE-276C-2AE9-C09F-9B5AE473E8D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22229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851" r:id="rId3"/>
    <p:sldLayoutId id="2147483853" r:id="rId4"/>
    <p:sldLayoutId id="2147483854" r:id="rId5"/>
    <p:sldLayoutId id="2147483823" r:id="rId6"/>
    <p:sldLayoutId id="2147484007" r:id="rId7"/>
    <p:sldLayoutId id="2147484008" r:id="rId8"/>
    <p:sldLayoutId id="2147484009" r:id="rId9"/>
    <p:sldLayoutId id="2147484010" r:id="rId10"/>
    <p:sldLayoutId id="2147484040" r:id="rId11"/>
    <p:sldLayoutId id="2147484041" r:id="rId12"/>
    <p:sldLayoutId id="2147484042" r:id="rId1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A7FF24D-3083-F0BB-5689-D44065EF227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1735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991" r:id="rId4"/>
    <p:sldLayoutId id="2147483992" r:id="rId5"/>
    <p:sldLayoutId id="2147483759" r:id="rId6"/>
    <p:sldLayoutId id="2147483760" r:id="rId7"/>
    <p:sldLayoutId id="2147483761" r:id="rId8"/>
    <p:sldLayoutId id="2147483762" r:id="rId9"/>
    <p:sldLayoutId id="2147483804" r:id="rId10"/>
    <p:sldLayoutId id="2147483807" r:id="rId11"/>
    <p:sldLayoutId id="2147483810" r:id="rId12"/>
    <p:sldLayoutId id="2147483813" r:id="rId13"/>
    <p:sldLayoutId id="2147483805" r:id="rId14"/>
    <p:sldLayoutId id="2147483808" r:id="rId15"/>
    <p:sldLayoutId id="2147483811" r:id="rId16"/>
    <p:sldLayoutId id="2147484028" r:id="rId17"/>
    <p:sldLayoutId id="2147483806" r:id="rId18"/>
    <p:sldLayoutId id="2147483809" r:id="rId19"/>
    <p:sldLayoutId id="2147483812" r:id="rId20"/>
    <p:sldLayoutId id="2147483815" r:id="rId21"/>
    <p:sldLayoutId id="2147483816" r:id="rId22"/>
    <p:sldLayoutId id="2147483817" r:id="rId23"/>
    <p:sldLayoutId id="2147483818" r:id="rId24"/>
    <p:sldLayoutId id="2147483819" r:id="rId25"/>
    <p:sldLayoutId id="2147484027" r:id="rId26"/>
    <p:sldLayoutId id="2147483822" r:id="rId27"/>
    <p:sldLayoutId id="2147484006" r:id="rId28"/>
    <p:sldLayoutId id="2147483994" r:id="rId29"/>
    <p:sldLayoutId id="2147483995" r:id="rId30"/>
    <p:sldLayoutId id="2147483996" r:id="rId31"/>
    <p:sldLayoutId id="2147484003" r:id="rId32"/>
    <p:sldLayoutId id="2147484039" r:id="rId33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800100" marR="0" indent="-3429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200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573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1145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343150" marR="0" indent="-28575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C53B8C5-DBB9-034B-A67F-7C49165D555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82672" y="202497"/>
            <a:ext cx="4114800" cy="33193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7047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en-US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5D7CD0AD-3FBA-9E80-E8BE-87BF97A9B01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731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4029" r:id="rId2"/>
    <p:sldLayoutId id="2147483764" r:id="rId3"/>
    <p:sldLayoutId id="2147483993" r:id="rId4"/>
    <p:sldLayoutId id="2147483765" r:id="rId5"/>
    <p:sldLayoutId id="2147483766" r:id="rId6"/>
    <p:sldLayoutId id="2147483767" r:id="rId7"/>
    <p:sldLayoutId id="2147483792" r:id="rId8"/>
    <p:sldLayoutId id="2147484035" r:id="rId9"/>
    <p:sldLayoutId id="2147483794" r:id="rId10"/>
    <p:sldLayoutId id="2147483997" r:id="rId11"/>
    <p:sldLayoutId id="2147483998" r:id="rId12"/>
    <p:sldLayoutId id="2147483999" r:id="rId13"/>
    <p:sldLayoutId id="2147483983" r:id="rId14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0574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6pPr>
      <a:lvl7pPr marL="274320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None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0487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7" r:id="rId3"/>
    <p:sldLayoutId id="2147483828" r:id="rId4"/>
    <p:sldLayoutId id="2147483829" r:id="rId5"/>
    <p:sldLayoutId id="2147483830" r:id="rId6"/>
    <p:sldLayoutId id="2147483831" r:id="rId7"/>
    <p:sldLayoutId id="2147483832" r:id="rId8"/>
    <p:sldLayoutId id="2147483833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op Nav">
            <a:extLst>
              <a:ext uri="{FF2B5EF4-FFF2-40B4-BE49-F238E27FC236}">
                <a16:creationId xmlns:a16="http://schemas.microsoft.com/office/drawing/2014/main" id="{C306BC44-B557-4D4A-A37C-AC42A50AF0F8}"/>
              </a:ext>
            </a:extLst>
          </p:cNvPr>
          <p:cNvSpPr/>
          <p:nvPr userDrawn="1"/>
        </p:nvSpPr>
        <p:spPr>
          <a:xfrm>
            <a:off x="0" y="0"/>
            <a:ext cx="12192000" cy="728663"/>
          </a:xfrm>
          <a:prstGeom prst="rect">
            <a:avLst/>
          </a:prstGeom>
          <a:solidFill>
            <a:srgbClr val="E5E5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McGraw Hill red cube Logo">
            <a:extLst>
              <a:ext uri="{FF2B5EF4-FFF2-40B4-BE49-F238E27FC236}">
                <a16:creationId xmlns:a16="http://schemas.microsoft.com/office/drawing/2014/main" id="{C1A4F2B2-935A-C147-BBF1-DCF85A87C1CD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0303" y="185576"/>
            <a:ext cx="369802" cy="369802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8D1F38E-E8A4-5947-852A-218D9AFA285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50408" y="190253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1">
                <a:solidFill>
                  <a:schemeClr val="tx1"/>
                </a:solidFill>
              </a:defRPr>
            </a:lvl1pPr>
          </a:lstStyle>
          <a:p>
            <a:r>
              <a:rPr lang="en-US"/>
              <a:t>McGraw Hill Templat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15EE525-5C1B-7B41-A38A-3587875780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McGraw Hill Templat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A42F38E9-DDDD-6F6F-F59C-5DF1E3FF6F3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6002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marL="28575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1600200" marR="0" lvl="3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McGraw Hill Template</a:t>
            </a:r>
          </a:p>
          <a:p>
            <a:pPr marL="2286000" marR="0" lvl="5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2057400" marR="0" lvl="4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1143000" marR="0" lvl="2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marL="685800" marR="0" lvl="1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0315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marR="0" indent="-22860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 typeface="Arial" panose="020B0604020202020204" pitchFamily="34" charset="0"/>
        <a:buChar char="•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6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7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4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5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1.png"/><Relationship Id="rId5" Type="http://schemas.openxmlformats.org/officeDocument/2006/relationships/image" Target="../media/image50.emf"/><Relationship Id="rId4" Type="http://schemas.openxmlformats.org/officeDocument/2006/relationships/image" Target="../media/image49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tudysharpen.com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5.xml"/><Relationship Id="rId4" Type="http://schemas.openxmlformats.org/officeDocument/2006/relationships/image" Target="../media/image30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hyperlink" Target="https://apps.apple.com/us/app/sharpen-college-exam-prep/id1595642363" TargetMode="External"/><Relationship Id="rId7" Type="http://schemas.openxmlformats.org/officeDocument/2006/relationships/image" Target="../media/image55.png"/><Relationship Id="rId2" Type="http://schemas.openxmlformats.org/officeDocument/2006/relationships/hyperlink" Target="https://play.google.com/store/apps/details?id=com.mheducation.redi&amp;hl=en_US" TargetMode="External"/><Relationship Id="rId1" Type="http://schemas.openxmlformats.org/officeDocument/2006/relationships/slideLayout" Target="../slideLayouts/slideLayout125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hyperlink" Target="http://www.studysharpen.com" TargetMode="External"/><Relationship Id="rId9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student/connect.html" TargetMode="Externa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3.xml"/><Relationship Id="rId6" Type="http://schemas.openxmlformats.org/officeDocument/2006/relationships/image" Target="../media/image58.png"/><Relationship Id="rId5" Type="http://schemas.openxmlformats.org/officeDocument/2006/relationships/image" Target="../media/image30.png"/><Relationship Id="rId4" Type="http://schemas.openxmlformats.org/officeDocument/2006/relationships/image" Target="../media/image57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3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6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70.png"/><Relationship Id="rId4" Type="http://schemas.openxmlformats.org/officeDocument/2006/relationships/hyperlink" Target="https://www.mheducation.com/highered/support/support-at-every-step/student/connect/temporary-access-ending" TargetMode="Externa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mheducation.com/highered/support/connect/first-day-of-class.html" TargetMode="Externa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71.png"/><Relationship Id="rId4" Type="http://schemas.openxmlformats.org/officeDocument/2006/relationships/image" Target="../media/image30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3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74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2.xml"/><Relationship Id="rId6" Type="http://schemas.openxmlformats.org/officeDocument/2006/relationships/image" Target="../media/image60.png"/><Relationship Id="rId5" Type="http://schemas.openxmlformats.org/officeDocument/2006/relationships/image" Target="../media/image75.png"/><Relationship Id="rId4" Type="http://schemas.openxmlformats.org/officeDocument/2006/relationships/image" Target="../media/image7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svg"/><Relationship Id="rId13" Type="http://schemas.openxmlformats.org/officeDocument/2006/relationships/image" Target="../media/image30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12" Type="http://schemas.openxmlformats.org/officeDocument/2006/relationships/image" Target="../media/image40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9.xml"/><Relationship Id="rId6" Type="http://schemas.openxmlformats.org/officeDocument/2006/relationships/image" Target="../media/image34.svg"/><Relationship Id="rId11" Type="http://schemas.openxmlformats.org/officeDocument/2006/relationships/image" Target="../media/image39.png"/><Relationship Id="rId5" Type="http://schemas.openxmlformats.org/officeDocument/2006/relationships/image" Target="../media/image33.png"/><Relationship Id="rId10" Type="http://schemas.openxmlformats.org/officeDocument/2006/relationships/image" Target="../media/image38.svg"/><Relationship Id="rId4" Type="http://schemas.openxmlformats.org/officeDocument/2006/relationships/image" Target="../media/image32.svg"/><Relationship Id="rId9" Type="http://schemas.openxmlformats.org/officeDocument/2006/relationships/image" Target="../media/image37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CC9C857-E79A-F545-BAB3-908AA67D15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92983" y="1605014"/>
            <a:ext cx="4831300" cy="1420574"/>
          </a:xfrm>
        </p:spPr>
        <p:txBody>
          <a:bodyPr>
            <a:normAutofit/>
          </a:bodyPr>
          <a:lstStyle/>
          <a:p>
            <a:r>
              <a:rPr lang="en-US" dirty="0"/>
              <a:t>McGraw Hill Connect ®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15FD6EFB-269E-194A-A965-948F2D8D67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US" dirty="0"/>
              <a:t>Student Registration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BAF26C10-15BC-1541-80F0-D47778F796A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208087" y="4122407"/>
            <a:ext cx="4887913" cy="723986"/>
          </a:xfrm>
        </p:spPr>
        <p:txBody>
          <a:bodyPr/>
          <a:lstStyle/>
          <a:p>
            <a:r>
              <a:rPr lang="en-US" dirty="0"/>
              <a:t>Canvas LTIA with Regular Deep Integration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31422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A813C9-3AD3-29F5-48C7-E65638387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69080" y="1718704"/>
            <a:ext cx="4831300" cy="1420574"/>
          </a:xfrm>
        </p:spPr>
        <p:txBody>
          <a:bodyPr/>
          <a:lstStyle/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0CEB6F2-1D61-AD49-4BF3-123CE624DBE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208087" y="3101973"/>
            <a:ext cx="4533631" cy="723986"/>
          </a:xfrm>
        </p:spPr>
        <p:txBody>
          <a:bodyPr/>
          <a:lstStyle/>
          <a:p>
            <a:r>
              <a:rPr lang="en-US"/>
              <a:t>What to Know on Your </a:t>
            </a:r>
            <a:br>
              <a:rPr lang="en-US"/>
            </a:br>
            <a:r>
              <a:rPr lang="en-US"/>
              <a:t>First Day of Clas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2CF8DC1-294A-3B17-394F-77CB7480A2F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2918B3A-34B7-765B-6FFF-954DC31DBE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75977C7-63D2-A57C-FF70-D762B6C44A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0251"/>
          <a:stretch/>
        </p:blipFill>
        <p:spPr>
          <a:xfrm>
            <a:off x="5671335" y="583701"/>
            <a:ext cx="6664502" cy="62742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10135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3ECB67-2626-98B6-7B2E-FC76D302CCE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202517-75C5-6C46-BC82-F842B0B39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What is Sharpen?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C0A3F45-C847-CAC3-F71D-3D129B93EDB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is McGraw Hill's newest study tool: an exam prep app included in Connect! By using these platforms together, you can master your course material and ace your exams. 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harpen has hundreds of bite-sized tools customized for your course to help you learn in just 5 minutes. The app's AI engine delivers personalized study tips based on your progress, so you can see what you've mastered and what you need to review.</a:t>
            </a:r>
            <a:endParaRPr lang="en-US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ince Sharpen is made by McGraw Hill, you can trust its content: accurate and focused on the most important concepts. You can launch Sharpen with one click from Connect or the LMS or log into </a:t>
            </a:r>
            <a:r>
              <a:rPr lang="en-US" b="1" err="1">
                <a:latin typeface="Arial"/>
                <a:cs typeface="Arial"/>
              </a:rPr>
              <a:t>Sharpen's</a:t>
            </a:r>
            <a:r>
              <a:rPr lang="en-US" b="1">
                <a:latin typeface="Arial"/>
                <a:cs typeface="Arial"/>
              </a:rPr>
              <a:t> web or mobile apps.</a:t>
            </a:r>
            <a:endParaRPr lang="en-US">
              <a:solidFill>
                <a:srgbClr val="000000"/>
              </a:solidFill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6AE97EF-0C45-24CA-FE18-8ECC8ED539E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EF68DC74-3731-B670-7F27-B5FB241102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pic>
        <p:nvPicPr>
          <p:cNvPr id="7" name="Picture 6" descr="Laptop showing the McGraw Hill Connect platform and a mobile phone showing the Sharpen study app.">
            <a:extLst>
              <a:ext uri="{FF2B5EF4-FFF2-40B4-BE49-F238E27FC236}">
                <a16:creationId xmlns:a16="http://schemas.microsoft.com/office/drawing/2014/main" id="{25FAB81B-B0F0-B287-4225-8C00219481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750447" y="4972640"/>
            <a:ext cx="2546193" cy="18885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92459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ED447DA-790C-DC08-B987-3996A92DD5D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CF51B435-6E5D-6EBD-DD9B-4F902C12228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BC464A10-43F9-3430-2972-CA8AE927832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04919D9B-5B7C-9214-E598-94D20ED89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algn="ctr"/>
            <a:r>
              <a:rPr lang="en-US" sz="2200"/>
              <a:t>Sharpen is the ultimate college study app for exam prep</a:t>
            </a:r>
            <a:endParaRPr lang="en-US" sz="2200" b="0">
              <a:solidFill>
                <a:srgbClr val="000000"/>
              </a:solidFill>
            </a:endParaRPr>
          </a:p>
        </p:txBody>
      </p:sp>
      <p:pic>
        <p:nvPicPr>
          <p:cNvPr id="15" name="Picture 14" descr="Screenshots of Sharpen features on a mobile phone, left to right:&#10;Videos.&#10;Chapter summaries.&#10;Flashcards.&#10;Quiz bank for exam prep.&#10;The Improve section.">
            <a:extLst>
              <a:ext uri="{FF2B5EF4-FFF2-40B4-BE49-F238E27FC236}">
                <a16:creationId xmlns:a16="http://schemas.microsoft.com/office/drawing/2014/main" id="{4D7329B5-9022-32EB-171E-63A1E3CCA9A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5854" y="1519947"/>
            <a:ext cx="11600292" cy="343893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2CA7E5D-8879-FB6D-FC14-543B8C66B393}"/>
              </a:ext>
            </a:extLst>
          </p:cNvPr>
          <p:cNvSpPr txBox="1"/>
          <p:nvPr/>
        </p:nvSpPr>
        <p:spPr>
          <a:xfrm>
            <a:off x="403621" y="5248436"/>
            <a:ext cx="116530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VIDEO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4357D24-178B-42E5-AB3D-6FDD8A46F991}"/>
              </a:ext>
            </a:extLst>
          </p:cNvPr>
          <p:cNvSpPr txBox="1"/>
          <p:nvPr/>
        </p:nvSpPr>
        <p:spPr>
          <a:xfrm>
            <a:off x="2569458" y="5170976"/>
            <a:ext cx="180777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CHAPTER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MMARI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8A1D04-FFA7-A18E-39EB-83779F730771}"/>
              </a:ext>
            </a:extLst>
          </p:cNvPr>
          <p:cNvSpPr txBox="1"/>
          <p:nvPr/>
        </p:nvSpPr>
        <p:spPr>
          <a:xfrm>
            <a:off x="5067562" y="5294602"/>
            <a:ext cx="20057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LASHCARDS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44B6544-82B2-43AD-ED31-6A2AB6AC827A}"/>
              </a:ext>
            </a:extLst>
          </p:cNvPr>
          <p:cNvSpPr txBox="1"/>
          <p:nvPr/>
        </p:nvSpPr>
        <p:spPr>
          <a:xfrm>
            <a:off x="7543610" y="5140714"/>
            <a:ext cx="20057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UIZ BANK FOR EXAM PREP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C663C3E1-5627-25CB-FD55-C9E58B6367C0}"/>
              </a:ext>
            </a:extLst>
          </p:cNvPr>
          <p:cNvSpPr txBox="1"/>
          <p:nvPr/>
        </p:nvSpPr>
        <p:spPr>
          <a:xfrm>
            <a:off x="10239677" y="5110764"/>
            <a:ext cx="147736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MPROVE SECTION</a:t>
            </a:r>
          </a:p>
        </p:txBody>
      </p:sp>
    </p:spTree>
    <p:extLst>
      <p:ext uri="{BB962C8B-B14F-4D97-AF65-F5344CB8AC3E}">
        <p14:creationId xmlns:p14="http://schemas.microsoft.com/office/powerpoint/2010/main" val="67317869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BFA2E2-6E98-FB93-D509-F1AA294120B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>
            <a:extLst>
              <a:ext uri="{FF2B5EF4-FFF2-40B4-BE49-F238E27FC236}">
                <a16:creationId xmlns:a16="http://schemas.microsoft.com/office/drawing/2014/main" id="{A8EBE8FB-1025-7E4C-41DA-28BE7BBAF9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A00517CD-2ED7-68EF-1595-2AECB3384B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  <p:sp>
        <p:nvSpPr>
          <p:cNvPr id="22" name="Title 21">
            <a:extLst>
              <a:ext uri="{FF2B5EF4-FFF2-40B4-BE49-F238E27FC236}">
                <a16:creationId xmlns:a16="http://schemas.microsoft.com/office/drawing/2014/main" id="{FA73ADC0-44B8-C9A8-1083-D46A818AAF79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2383971" y="896257"/>
            <a:ext cx="7614557" cy="40011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Download the Sharpen College Study App – Scan This Cod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Arial"/>
              </a:rPr>
              <a:t>​</a:t>
            </a:r>
          </a:p>
        </p:txBody>
      </p:sp>
      <p:pic>
        <p:nvPicPr>
          <p:cNvPr id="7" name="Google Shape;407;p82" descr="Sharpen logo.">
            <a:extLst>
              <a:ext uri="{FF2B5EF4-FFF2-40B4-BE49-F238E27FC236}">
                <a16:creationId xmlns:a16="http://schemas.microsoft.com/office/drawing/2014/main" id="{EE10A906-799B-8E13-E8B4-B8ECD06573B8}"/>
              </a:ext>
            </a:extLst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4195975" y="1296154"/>
            <a:ext cx="3566160" cy="895006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19" descr="QR code to download Sharpen.">
            <a:extLst>
              <a:ext uri="{FF2B5EF4-FFF2-40B4-BE49-F238E27FC236}">
                <a16:creationId xmlns:a16="http://schemas.microsoft.com/office/drawing/2014/main" id="{31BD18CA-E462-26DA-7134-B0B2AD11974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95975" y="2042355"/>
            <a:ext cx="3642847" cy="3653776"/>
          </a:xfrm>
          <a:prstGeom prst="rect">
            <a:avLst/>
          </a:prstGeom>
        </p:spPr>
      </p:pic>
      <p:pic>
        <p:nvPicPr>
          <p:cNvPr id="10" name="Picture 10" descr="Apple App Store icon.">
            <a:extLst>
              <a:ext uri="{FF2B5EF4-FFF2-40B4-BE49-F238E27FC236}">
                <a16:creationId xmlns:a16="http://schemas.microsoft.com/office/drawing/2014/main" id="{2BD7A65A-CB13-3540-19A1-A6F893A6D8CA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60" b="5482"/>
          <a:stretch/>
        </p:blipFill>
        <p:spPr bwMode="auto">
          <a:xfrm>
            <a:off x="3527861" y="5875918"/>
            <a:ext cx="2451194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2" descr="Google Play Store icon.">
            <a:extLst>
              <a:ext uri="{FF2B5EF4-FFF2-40B4-BE49-F238E27FC236}">
                <a16:creationId xmlns:a16="http://schemas.microsoft.com/office/drawing/2014/main" id="{C72D5321-6A39-DE58-DBE9-530C5E8E8488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50" t="16958" r="10618" b="17565"/>
          <a:stretch/>
        </p:blipFill>
        <p:spPr bwMode="auto">
          <a:xfrm>
            <a:off x="6122230" y="5875918"/>
            <a:ext cx="2451195" cy="760743"/>
          </a:xfrm>
          <a:prstGeom prst="round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5932590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BEC51BE-8D8C-5D3A-1A88-37C9291EE7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77E6315-7A9A-B783-CF4C-EDA0D5DD88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tips to make the most of Connect: 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A7B6105D-F1A2-29D1-4CA2-FB347CD25F7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736496"/>
            <a:ext cx="10706330" cy="4374092"/>
          </a:xfrm>
        </p:spPr>
        <p:txBody>
          <a:bodyPr vert="horz" lIns="91440" tIns="45720" rIns="91440" bIns="45720" rtlCol="0" anchor="t">
            <a:normAutofit fontScale="92500" lnSpcReduction="10000"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Stay Organized </a:t>
            </a:r>
            <a:endParaRPr lang="en-US" b="1">
              <a:solidFill>
                <a:schemeClr val="tx1"/>
              </a:solidFill>
            </a:endParaRP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igital Course Planner has all your upcoming Connect assignments in one place, and you can customize calendar alerts. </a:t>
            </a: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0">
              <a:spcAft>
                <a:spcPts val="600"/>
              </a:spcAft>
              <a:buNone/>
            </a:pPr>
            <a:endParaRPr lang="en-US" sz="180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Focus On What Matters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Use Reports to track your performance and understanding of key concepts.</a:t>
            </a:r>
          </a:p>
          <a:p>
            <a:pPr marL="572770" lvl="1" indent="-342900">
              <a:spcAft>
                <a:spcPts val="600"/>
              </a:spcAft>
            </a:pPr>
            <a:endParaRPr lang="en-US" sz="1800"/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Learn On-the-Go</a:t>
            </a:r>
          </a:p>
          <a:p>
            <a:pPr marL="572770" lvl="1" indent="-342900">
              <a:spcAft>
                <a:spcPts val="600"/>
              </a:spcAft>
            </a:pPr>
            <a:r>
              <a:rPr lang="en-US" sz="1800">
                <a:latin typeface="Arial"/>
                <a:cs typeface="Arial"/>
              </a:rPr>
              <a:t>Download the free </a:t>
            </a:r>
            <a:r>
              <a:rPr lang="en-US" sz="1800" err="1">
                <a:latin typeface="Arial"/>
                <a:cs typeface="Arial"/>
              </a:rPr>
              <a:t>ReadAnywhere</a:t>
            </a:r>
            <a:r>
              <a:rPr lang="en-US" sz="1800">
                <a:latin typeface="Arial"/>
                <a:cs typeface="Arial"/>
              </a:rPr>
              <a:t> app to take your eBook* and </a:t>
            </a:r>
            <a:r>
              <a:rPr lang="en-US" sz="1800" err="1">
                <a:latin typeface="Arial"/>
                <a:cs typeface="Arial"/>
              </a:rPr>
              <a:t>SmartBook</a:t>
            </a:r>
            <a:r>
              <a:rPr lang="en-US" sz="1800" baseline="30000">
                <a:latin typeface="Arial"/>
                <a:cs typeface="Arial"/>
              </a:rPr>
              <a:t>®</a:t>
            </a:r>
            <a:r>
              <a:rPr lang="en-US" sz="1800">
                <a:latin typeface="Arial"/>
                <a:cs typeface="Arial"/>
              </a:rPr>
              <a:t>* with you—online and offline, 24/7. </a:t>
            </a:r>
          </a:p>
          <a:p>
            <a:pPr lvl="1" indent="0">
              <a:spcAft>
                <a:spcPts val="600"/>
              </a:spcAft>
              <a:buNone/>
            </a:pPr>
            <a:endParaRPr lang="en-US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34950" indent="-234950"/>
            <a:r>
              <a:rPr lang="en-US" sz="1400">
                <a:latin typeface="Arial"/>
                <a:cs typeface="Arial"/>
              </a:rPr>
              <a:t>*</a:t>
            </a:r>
            <a:r>
              <a:rPr lang="en-US" sz="1400" i="1" err="1">
                <a:latin typeface="Arial"/>
                <a:cs typeface="Arial"/>
              </a:rPr>
              <a:t>ReadAnywhere</a:t>
            </a:r>
            <a:r>
              <a:rPr lang="en-US" sz="1400" i="1">
                <a:latin typeface="Arial"/>
                <a:cs typeface="Arial"/>
              </a:rPr>
              <a:t> supports newer eBooks and </a:t>
            </a:r>
            <a:r>
              <a:rPr lang="en-US" sz="1400" i="1" err="1">
                <a:latin typeface="Arial"/>
                <a:cs typeface="Arial"/>
              </a:rPr>
              <a:t>SmartBook</a:t>
            </a:r>
            <a:r>
              <a:rPr lang="en-US" sz="1400" i="1">
                <a:latin typeface="Arial"/>
                <a:cs typeface="Arial"/>
              </a:rPr>
              <a:t>. May not be available in your specific Connect course.</a:t>
            </a:r>
            <a:endParaRPr lang="en-US">
              <a:latin typeface="Arial"/>
              <a:cs typeface="Arial"/>
            </a:endParaRPr>
          </a:p>
          <a:p>
            <a:endParaRPr lang="en-US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8FD1BB5C-83F9-D82B-97A0-611541C62A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8BDDDD4-0CCE-5CC2-6BC3-51BFB1453DE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333333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78722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03D2C7-0C6B-79EB-491C-346307AE705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58B42C3-BC93-F8B8-DD07-9E5BF92828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3873" y="1020117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, here are some tips to ace your exams with Sharpen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182B4A1-71EF-18ED-DCD8-78270D5BD1D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77634" y="1482496"/>
            <a:ext cx="10706330" cy="4374092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Exam Prep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Spend 10 minutes on Quiz Bank to confirm what you know and check Improve for tips to master concepts you missed. </a:t>
            </a:r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Weekly Review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Flip through Sharpen flashcards for 5 minutes to test yourself on chapters covered in class.   </a:t>
            </a:r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800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Refresher Before Class</a:t>
            </a:r>
            <a:endParaRPr lang="en-US" b="1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r>
              <a:rPr lang="en-US" sz="1800">
                <a:latin typeface="Arial"/>
                <a:cs typeface="Arial"/>
              </a:rPr>
              <a:t>Spend 5 minutes on Sharpen summaries and videos to review key concepts.</a:t>
            </a:r>
            <a:endParaRPr lang="en-US" sz="1800"/>
          </a:p>
          <a:p>
            <a:pPr>
              <a:spcAft>
                <a:spcPts val="600"/>
              </a:spcAft>
            </a:pPr>
            <a:endParaRPr lang="en-US" b="1">
              <a:latin typeface="Arial"/>
              <a:cs typeface="Arial"/>
            </a:endParaRPr>
          </a:p>
          <a:p>
            <a:pPr>
              <a:spcAft>
                <a:spcPts val="600"/>
              </a:spcAft>
            </a:pPr>
            <a:r>
              <a:rPr lang="en-US" b="1">
                <a:latin typeface="Arial"/>
                <a:cs typeface="Arial"/>
              </a:rPr>
              <a:t>24/7 Access</a:t>
            </a:r>
            <a:endParaRPr lang="en-US"/>
          </a:p>
          <a:p>
            <a:pPr marL="572770" lvl="1" indent="-342900">
              <a:spcAft>
                <a:spcPts val="600"/>
              </a:spcAft>
              <a:buFont typeface="Arial,Sans-Serif"/>
              <a:buChar char="•"/>
            </a:pPr>
            <a:r>
              <a:rPr lang="en-US" sz="1800">
                <a:latin typeface="Arial"/>
                <a:cs typeface="Arial"/>
              </a:rPr>
              <a:t>Download the Sharpen mobile phone app for iOS or Android. On laptops or tablets, log into Sharpen at </a:t>
            </a:r>
            <a:r>
              <a:rPr lang="en-US" sz="1800">
                <a:latin typeface="Arial"/>
                <a:cs typeface="Arial"/>
                <a:hlinkClick r:id="rId3"/>
              </a:rPr>
              <a:t>www.studysharpen.com</a:t>
            </a:r>
            <a:r>
              <a:rPr lang="en-US" sz="1800">
                <a:latin typeface="Arial"/>
                <a:cs typeface="Arial"/>
              </a:rPr>
              <a:t> or through Connect or LMS launch points. </a:t>
            </a:r>
            <a:endParaRPr lang="en-US" sz="1800"/>
          </a:p>
          <a:p>
            <a:pPr marL="572770" lvl="1" indent="-342900">
              <a:spcAft>
                <a:spcPts val="600"/>
              </a:spcAft>
              <a:buFont typeface="Arial"/>
              <a:buChar char="•"/>
            </a:pPr>
            <a:endParaRPr lang="en-US" sz="1300">
              <a:latin typeface="Arial"/>
              <a:cs typeface="Arial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EFDE8D9A-7100-30DC-B8F3-B4A80AF571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92D7CDFD-6A1E-3B56-2F7E-1CF15406DC2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82314878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C175817-792A-094E-A220-22C149BB8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579" y="835665"/>
            <a:ext cx="10750091" cy="365379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tudents: Study on your Smartphone or Tablet!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0C5671F-AF2D-46C1-984C-E962B4AE6DF3}"/>
              </a:ext>
            </a:extLst>
          </p:cNvPr>
          <p:cNvSpPr txBox="1">
            <a:spLocks noGrp="1"/>
          </p:cNvSpPr>
          <p:nvPr>
            <p:ph type="body" sz="quarter" idx="16"/>
          </p:nvPr>
        </p:nvSpPr>
        <p:spPr>
          <a:xfrm>
            <a:off x="487258" y="1362128"/>
            <a:ext cx="6570190" cy="2693045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300" b="1" err="1">
                <a:latin typeface="Arial"/>
                <a:cs typeface="Arial"/>
              </a:rPr>
              <a:t>ReadAnywhere</a:t>
            </a:r>
            <a:r>
              <a:rPr lang="en-US" sz="1300" b="1" baseline="30000">
                <a:latin typeface="Arial"/>
                <a:cs typeface="Arial"/>
              </a:rPr>
              <a:t>®</a:t>
            </a:r>
            <a:r>
              <a:rPr lang="en-US" sz="1300" b="1">
                <a:latin typeface="Arial"/>
                <a:cs typeface="Arial"/>
              </a:rPr>
              <a:t> 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Download the fre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 to your Android or iOS smartphone or tablet and access your course eBook for offline study access anytime, anywhere. </a:t>
            </a: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More than </a:t>
            </a:r>
            <a:r>
              <a:rPr lang="en-US" sz="1300" u="sng">
                <a:latin typeface="Arial"/>
                <a:cs typeface="Arial"/>
              </a:rPr>
              <a:t>1 million students and instructors</a:t>
            </a:r>
            <a:r>
              <a:rPr lang="en-US" sz="1300">
                <a:latin typeface="Arial"/>
                <a:cs typeface="Arial"/>
              </a:rPr>
              <a:t> have downloaded the </a:t>
            </a:r>
            <a:r>
              <a:rPr lang="en-US" sz="1300" err="1">
                <a:latin typeface="Arial"/>
                <a:cs typeface="Arial"/>
              </a:rPr>
              <a:t>ReadAnywhere</a:t>
            </a:r>
            <a:r>
              <a:rPr lang="en-US" sz="1300">
                <a:latin typeface="Arial"/>
                <a:cs typeface="Arial"/>
              </a:rPr>
              <a:t> app, which has a 4.7 rating on the App Store.</a:t>
            </a:r>
          </a:p>
          <a:p>
            <a:endParaRPr lang="en-US" sz="1300"/>
          </a:p>
          <a:p>
            <a:r>
              <a:rPr lang="en-US" sz="1300" b="1">
                <a:latin typeface="Arial"/>
                <a:cs typeface="Arial"/>
              </a:rPr>
              <a:t>Connect Tablet App</a:t>
            </a:r>
            <a:endParaRPr lang="en-US" sz="1300">
              <a:latin typeface="Arial"/>
              <a:cs typeface="Arial"/>
            </a:endParaRPr>
          </a:p>
          <a:p>
            <a:endParaRPr lang="en-US" sz="1300"/>
          </a:p>
          <a:p>
            <a:r>
              <a:rPr lang="en-US" sz="1300">
                <a:latin typeface="Arial"/>
                <a:cs typeface="Arial"/>
              </a:rPr>
              <a:t>Log into Connect on your tablet browser and then add it to your home screen to complete assignments. </a:t>
            </a:r>
            <a:r>
              <a:rPr lang="en-US" sz="1300" i="1">
                <a:latin typeface="Arial"/>
                <a:cs typeface="Arial"/>
              </a:rPr>
              <a:t>The Connect Tablet App is not recommended for smartphone use.</a:t>
            </a:r>
            <a:endParaRPr lang="en-US" sz="1300">
              <a:latin typeface="Arial"/>
              <a:cs typeface="Arial"/>
            </a:endParaRP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E36E08D-B7A3-325F-533A-E8193A8CCC4F}"/>
              </a:ext>
            </a:extLst>
          </p:cNvPr>
          <p:cNvSpPr txBox="1">
            <a:spLocks/>
          </p:cNvSpPr>
          <p:nvPr/>
        </p:nvSpPr>
        <p:spPr>
          <a:xfrm>
            <a:off x="485444" y="4172456"/>
            <a:ext cx="6570190" cy="2492990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00" b="1">
                <a:latin typeface="Arial"/>
                <a:cs typeface="Arial"/>
              </a:rPr>
              <a:t>Sharpen Exam Prep App</a:t>
            </a:r>
            <a:endParaRPr lang="en-US" sz="1300"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Find the Sharpen launch point in Connect, GO, or your LMS. Click get started!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Then download the Sharpen app to your </a:t>
            </a:r>
            <a:r>
              <a:rPr lang="en-US" sz="1300">
                <a:latin typeface="Arial"/>
                <a:cs typeface="Arial"/>
                <a:hlinkClick r:id="rId2"/>
              </a:rPr>
              <a:t>Android</a:t>
            </a:r>
            <a:r>
              <a:rPr lang="en-US" sz="1300">
                <a:latin typeface="Arial"/>
                <a:cs typeface="Arial"/>
              </a:rPr>
              <a:t> or </a:t>
            </a:r>
            <a:r>
              <a:rPr lang="en-US" sz="1300">
                <a:latin typeface="Arial"/>
                <a:cs typeface="Arial"/>
                <a:hlinkClick r:id="rId3"/>
              </a:rPr>
              <a:t>iOS</a:t>
            </a:r>
            <a:r>
              <a:rPr lang="en-US" sz="1300">
                <a:latin typeface="Arial"/>
                <a:cs typeface="Arial"/>
              </a:rPr>
              <a:t> smartphone to access your study content anytime, anywhere. </a:t>
            </a:r>
            <a:endParaRPr lang="en-US" sz="1300"/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On your tablet or laptop? Log into Sharpen web at </a:t>
            </a:r>
            <a:r>
              <a:rPr lang="en-US" sz="1300">
                <a:latin typeface="Arial"/>
                <a:cs typeface="Arial"/>
                <a:hlinkClick r:id="rId4"/>
              </a:rPr>
              <a:t>www.studysharpen.com</a:t>
            </a:r>
            <a:r>
              <a:rPr lang="en-US" sz="1300">
                <a:latin typeface="Arial"/>
                <a:cs typeface="Arial"/>
              </a:rPr>
              <a:t> to access your content. Always sign in with your school email address so your progress is up to date on any device.</a:t>
            </a:r>
            <a:endParaRPr lang="en-US" sz="1300">
              <a:solidFill>
                <a:srgbClr val="000000"/>
              </a:solidFill>
              <a:latin typeface="Arial"/>
              <a:cs typeface="Arial"/>
            </a:endParaRPr>
          </a:p>
          <a:p>
            <a:endParaRPr lang="en-US" sz="1300">
              <a:latin typeface="Arial"/>
              <a:cs typeface="Arial"/>
            </a:endParaRPr>
          </a:p>
          <a:p>
            <a:r>
              <a:rPr lang="en-US" sz="1300">
                <a:latin typeface="Arial"/>
                <a:cs typeface="Arial"/>
              </a:rPr>
              <a:t>Close to </a:t>
            </a:r>
            <a:r>
              <a:rPr lang="en-US" sz="1300" u="sng">
                <a:latin typeface="Arial"/>
                <a:cs typeface="Arial"/>
              </a:rPr>
              <a:t>1 million students</a:t>
            </a:r>
            <a:r>
              <a:rPr lang="en-US" sz="1300">
                <a:latin typeface="Arial"/>
                <a:cs typeface="Arial"/>
              </a:rPr>
              <a:t> have tried Sharpen, which has a 4.7 App Store rating.</a:t>
            </a:r>
            <a:endParaRPr lang="en-US" sz="1300"/>
          </a:p>
        </p:txBody>
      </p:sp>
      <p:pic>
        <p:nvPicPr>
          <p:cNvPr id="9" name="Picture 8" descr="Image of the ReadAnywhere App Logo.">
            <a:extLst>
              <a:ext uri="{FF2B5EF4-FFF2-40B4-BE49-F238E27FC236}">
                <a16:creationId xmlns:a16="http://schemas.microsoft.com/office/drawing/2014/main" id="{E9C0DE07-94EA-47D2-9677-F594AD58854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50331" y="1015067"/>
            <a:ext cx="2316113" cy="2412672"/>
          </a:xfrm>
          <a:prstGeom prst="rect">
            <a:avLst/>
          </a:prstGeom>
        </p:spPr>
      </p:pic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B0142E43-DE2B-6632-4863-878684C53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018194" y="267700"/>
            <a:ext cx="2493543" cy="211306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b="0">
                <a:latin typeface="Arial"/>
                <a:cs typeface="Arial"/>
              </a:rPr>
              <a:t>Getting Started with Connect</a:t>
            </a:r>
            <a:r>
              <a:rPr lang="en-US" b="0" baseline="30000">
                <a:latin typeface="Arial"/>
                <a:cs typeface="Arial"/>
              </a:rPr>
              <a:t>®</a:t>
            </a:r>
            <a:endParaRPr lang="en-US" b="0">
              <a:solidFill>
                <a:srgbClr val="000000"/>
              </a:solidFill>
              <a:latin typeface="Arial"/>
              <a:cs typeface="Arial"/>
            </a:endParaRPr>
          </a:p>
        </p:txBody>
      </p:sp>
      <p:pic>
        <p:nvPicPr>
          <p:cNvPr id="5" name="Picture 4" descr="Image of the Sharpen logo.">
            <a:extLst>
              <a:ext uri="{FF2B5EF4-FFF2-40B4-BE49-F238E27FC236}">
                <a16:creationId xmlns:a16="http://schemas.microsoft.com/office/drawing/2014/main" id="{081C7F18-E127-826A-1D86-6108352F622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82769" y="3428697"/>
            <a:ext cx="2056966" cy="2112737"/>
          </a:xfrm>
          <a:prstGeom prst="roundRect">
            <a:avLst/>
          </a:prstGeom>
        </p:spPr>
      </p:pic>
      <p:pic>
        <p:nvPicPr>
          <p:cNvPr id="10" name="Picture 9" descr="Apple App Store icon.">
            <a:extLst>
              <a:ext uri="{FF2B5EF4-FFF2-40B4-BE49-F238E27FC236}">
                <a16:creationId xmlns:a16="http://schemas.microsoft.com/office/drawing/2014/main" id="{6103DF3C-37C4-72FB-C49B-56BA553F545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18783" y="5732826"/>
            <a:ext cx="1319080" cy="460496"/>
          </a:xfrm>
          <a:prstGeom prst="rect">
            <a:avLst/>
          </a:prstGeom>
        </p:spPr>
      </p:pic>
      <p:pic>
        <p:nvPicPr>
          <p:cNvPr id="8" name="Picture 7" descr="Google Play Store icon.">
            <a:extLst>
              <a:ext uri="{FF2B5EF4-FFF2-40B4-BE49-F238E27FC236}">
                <a16:creationId xmlns:a16="http://schemas.microsoft.com/office/drawing/2014/main" id="{50E6952B-DBF3-0425-E3E1-B8EB79D1DF6F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105546" y="5730707"/>
            <a:ext cx="1406463" cy="455418"/>
          </a:xfrm>
          <a:prstGeom prst="rect">
            <a:avLst/>
          </a:prstGeom>
        </p:spPr>
      </p:pic>
      <p:pic>
        <p:nvPicPr>
          <p:cNvPr id="14" name="Picture 2">
            <a:extLst>
              <a:ext uri="{FF2B5EF4-FFF2-40B4-BE49-F238E27FC236}">
                <a16:creationId xmlns:a16="http://schemas.microsoft.com/office/drawing/2014/main" id="{51A92296-2EAE-60D8-EB39-80A7247D3D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124724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381500" y="1306513"/>
            <a:ext cx="7018338" cy="528320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Connect Student Support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Learn how to register, navigate Connect, use SmartBook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, download the ReadAnywhere</a:t>
            </a:r>
            <a:r>
              <a:rPr kumimoji="0" lang="en-US" sz="1400" b="1" i="0" u="none" strike="noStrike" kern="1200" cap="none" spc="0" normalizeH="0" baseline="3000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®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 app, and more!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</a:b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heducation.com/</a:t>
            </a:r>
            <a:r>
              <a:rPr kumimoji="0" lang="en-US" sz="1800" b="1" i="0" u="none" strike="noStrike" kern="1200" cap="none" spc="0" normalizeH="0" baseline="0" noProof="0" dirty="0" err="1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ighered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support/student/connect.html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Plus, access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echnical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ppor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 via chat 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or phone at 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(800) 331-5094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.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Hours of Operation: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unday: 12 PM to 12 AM E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Monday–Thursday: 24 hours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Friday: 12 AM to 9 PM 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aturday: 10 AM to 8 PM ET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3FE766CE-7799-F25F-DBD6-7360E926E0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1723" t="28837" r="58035" b="14977"/>
          <a:stretch/>
        </p:blipFill>
        <p:spPr>
          <a:xfrm>
            <a:off x="452062" y="2139190"/>
            <a:ext cx="3174714" cy="3317841"/>
          </a:xfrm>
          <a:prstGeom prst="rect">
            <a:avLst/>
          </a:prstGeom>
          <a:ln>
            <a:solidFill>
              <a:schemeClr val="bg1"/>
            </a:solidFill>
          </a:ln>
        </p:spPr>
      </p:pic>
      <p:pic>
        <p:nvPicPr>
          <p:cNvPr id="6" name="Picture 2">
            <a:extLst>
              <a:ext uri="{FF2B5EF4-FFF2-40B4-BE49-F238E27FC236}">
                <a16:creationId xmlns:a16="http://schemas.microsoft.com/office/drawing/2014/main" id="{FB1905E1-2753-B4E9-BE76-D17C5562F97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6" descr="QR code to scan to access Connect student support.">
            <a:extLst>
              <a:ext uri="{FF2B5EF4-FFF2-40B4-BE49-F238E27FC236}">
                <a16:creationId xmlns:a16="http://schemas.microsoft.com/office/drawing/2014/main" id="{42D9CE48-3DF9-4968-D117-5A388ADAC9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97258" y="3508780"/>
            <a:ext cx="3033485" cy="30214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43259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33FBBB1-F691-2DBB-0E41-0C1A4A1402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E87921D-3035-DC63-AD61-AFA509E963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656E0BA-3400-31A1-885E-50BE516D9354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Purchase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Registration: Connect Integrated with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B44DFD4B-7A03-B942-C39C-B04433F1BC9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EB34A92C-1959-BED0-600B-4E790B250D9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8403C93B-0C5C-6EBA-38B9-CDC91690D48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10798DD6-469C-DC2A-93A7-786B9D829E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51"/>
          <a:stretch/>
        </p:blipFill>
        <p:spPr>
          <a:xfrm>
            <a:off x="3884263" y="2307272"/>
            <a:ext cx="4832074" cy="455072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E945652F-4939-F4BB-055D-B0DBF178C6F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23945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371EBC9-A15D-ABC3-C0B8-385F156B2C9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ACD66EC-3FB3-3E0A-6682-023DF2334E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Accessing McGraw Hill Connect:</a:t>
            </a:r>
            <a:br>
              <a:rPr lang="en-US">
                <a:latin typeface="Arial"/>
                <a:cs typeface="Arial"/>
              </a:rPr>
            </a:br>
            <a:br>
              <a:rPr lang="en-US">
                <a:latin typeface="Arial"/>
                <a:cs typeface="Arial"/>
              </a:rPr>
            </a:br>
            <a:r>
              <a:rPr lang="en-US">
                <a:latin typeface="Arial"/>
                <a:cs typeface="Arial"/>
              </a:rPr>
              <a:t>Canva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16A585-AAC5-CE7C-93CF-9E256D9177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endParaRPr lang="en-US" baseline="30000">
              <a:latin typeface="Arial"/>
              <a:cs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56F6A68-27C6-E85E-B0F8-BE729074D39B}"/>
              </a:ext>
            </a:extLst>
          </p:cNvPr>
          <p:cNvSpPr txBox="1"/>
          <p:nvPr/>
        </p:nvSpPr>
        <p:spPr>
          <a:xfrm>
            <a:off x="4496615" y="1627094"/>
            <a:ext cx="1739152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400" b="1">
                <a:latin typeface="Arial"/>
                <a:ea typeface="Calibri"/>
                <a:cs typeface="Calibri"/>
              </a:rPr>
              <a:t>Step 1</a:t>
            </a:r>
            <a:endParaRPr lang="en-US" sz="2400" b="1">
              <a:latin typeface="Arial"/>
              <a:cs typeface="Arial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5FDD256-4257-B710-D87C-4175A617EF88}"/>
              </a:ext>
            </a:extLst>
          </p:cNvPr>
          <p:cNvSpPr txBox="1"/>
          <p:nvPr/>
        </p:nvSpPr>
        <p:spPr>
          <a:xfrm>
            <a:off x="4500561" y="2094263"/>
            <a:ext cx="5448113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>
                <a:cs typeface="Calibri"/>
              </a:rPr>
              <a:t>To access McGraw Hill Connect from your Canvas course, click to open the McGraw Hill Connect assignment. On the next screen, click again to launch it.</a:t>
            </a:r>
            <a:endParaRPr lang="en-US"/>
          </a:p>
        </p:txBody>
      </p:sp>
      <p:pic>
        <p:nvPicPr>
          <p:cNvPr id="5" name="Picture 5" descr="Canvas course screenshot showing the student's Connect assignment.">
            <a:extLst>
              <a:ext uri="{FF2B5EF4-FFF2-40B4-BE49-F238E27FC236}">
                <a16:creationId xmlns:a16="http://schemas.microsoft.com/office/drawing/2014/main" id="{C47A078D-F11A-056B-F874-9CAC1F6854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37809" y="3062962"/>
            <a:ext cx="5528128" cy="181940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B0ABD4A-6777-DB7B-A61A-FB0B1FE4080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24597" y="3969078"/>
            <a:ext cx="1306450" cy="292925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9" name="Picture 8" descr="Connect assignment screenshot with the launch button.">
            <a:extLst>
              <a:ext uri="{FF2B5EF4-FFF2-40B4-BE49-F238E27FC236}">
                <a16:creationId xmlns:a16="http://schemas.microsoft.com/office/drawing/2014/main" id="{11475474-CF28-2EF3-D1D8-1B651EF2D3E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98564" y="4584781"/>
            <a:ext cx="4271211" cy="21224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14547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2A43DFC8-760D-FA5E-F9F9-479122304F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0" y="12812"/>
            <a:ext cx="12192000" cy="6845188"/>
          </a:xfrm>
          <a:prstGeom prst="rect">
            <a:avLst/>
          </a:prstGeom>
          <a:ln>
            <a:noFill/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7" name="Picture 16" descr="There is a 95% student satisfaction rate reported.&#10;&#10;&#10;&#10;&#10;">
            <a:extLst>
              <a:ext uri="{FF2B5EF4-FFF2-40B4-BE49-F238E27FC236}">
                <a16:creationId xmlns:a16="http://schemas.microsoft.com/office/drawing/2014/main" id="{1B13A01B-16DB-B0E2-5766-38690CAA92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388755" y="4434030"/>
            <a:ext cx="2227431" cy="2423969"/>
          </a:xfrm>
          <a:prstGeom prst="rect">
            <a:avLst/>
          </a:prstGeom>
        </p:spPr>
      </p:pic>
      <p:pic>
        <p:nvPicPr>
          <p:cNvPr id="13" name="Picture 12" descr="88% of students using Connect report that they find it easy to use.">
            <a:extLst>
              <a:ext uri="{FF2B5EF4-FFF2-40B4-BE49-F238E27FC236}">
                <a16:creationId xmlns:a16="http://schemas.microsoft.com/office/drawing/2014/main" id="{A585DD2F-02DA-8B7A-EADE-717BCC7FDF7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39703" y="4434031"/>
            <a:ext cx="2734733" cy="2423968"/>
          </a:xfrm>
          <a:prstGeom prst="rect">
            <a:avLst/>
          </a:prstGeom>
        </p:spPr>
      </p:pic>
      <p:pic>
        <p:nvPicPr>
          <p:cNvPr id="11" name="Picture 10" descr="There is a 99% uptime and reliability reported among users.">
            <a:extLst>
              <a:ext uri="{FF2B5EF4-FFF2-40B4-BE49-F238E27FC236}">
                <a16:creationId xmlns:a16="http://schemas.microsoft.com/office/drawing/2014/main" id="{AA9CA2E7-A54B-32DB-2E9E-4D7112E4541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14046" y="4434031"/>
            <a:ext cx="2197732" cy="2423969"/>
          </a:xfrm>
          <a:prstGeom prst="rect">
            <a:avLst/>
          </a:prstGeom>
        </p:spPr>
      </p:pic>
      <p:pic>
        <p:nvPicPr>
          <p:cNvPr id="5" name="Picture 4" descr="A computer with a chat window">
            <a:extLst>
              <a:ext uri="{FF2B5EF4-FFF2-40B4-BE49-F238E27FC236}">
                <a16:creationId xmlns:a16="http://schemas.microsoft.com/office/drawing/2014/main" id="{4EB64396-0494-E881-FF52-7D72ADF54C2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06133" y="1413000"/>
            <a:ext cx="5268209" cy="2782088"/>
          </a:xfrm>
          <a:prstGeom prst="rect">
            <a:avLst/>
          </a:prstGeom>
        </p:spPr>
      </p:pic>
      <p:sp>
        <p:nvSpPr>
          <p:cNvPr id="2" name="Content">
            <a:extLst>
              <a:ext uri="{FF2B5EF4-FFF2-40B4-BE49-F238E27FC236}">
                <a16:creationId xmlns:a16="http://schemas.microsoft.com/office/drawing/2014/main" id="{2DCC113D-1C05-E944-2ED5-9EAFBCBCFA3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0905" y="2423969"/>
            <a:ext cx="3759272" cy="2911396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  <a:latin typeface="Arial"/>
                <a:cs typeface="Arial"/>
              </a:rPr>
              <a:t>Personalized Learning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Interactive, Course-Specific Tool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Built-in AI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Mobile eBook Access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Affordable Materials 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Quality Content</a:t>
            </a:r>
          </a:p>
          <a:p>
            <a:pPr>
              <a:lnSpc>
                <a:spcPct val="100000"/>
              </a:lnSpc>
              <a:spcBef>
                <a:spcPts val="800"/>
              </a:spcBef>
              <a:defRPr/>
            </a:pPr>
            <a:r>
              <a:rPr lang="en-US" sz="2000" b="0" dirty="0">
                <a:solidFill>
                  <a:srgbClr val="002060"/>
                </a:solidFill>
              </a:rPr>
              <a:t>Support! 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E75B486-3B8F-1D3E-7066-0C1216A32E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388755" y="434586"/>
            <a:ext cx="2341460" cy="550591"/>
          </a:xfrm>
          <a:prstGeom prst="rect">
            <a:avLst/>
          </a:prstGeom>
        </p:spPr>
      </p:pic>
      <p:sp>
        <p:nvSpPr>
          <p:cNvPr id="27" name="Title 26">
            <a:extLst>
              <a:ext uri="{FF2B5EF4-FFF2-40B4-BE49-F238E27FC236}">
                <a16:creationId xmlns:a16="http://schemas.microsoft.com/office/drawing/2014/main" id="{A59AA992-546C-FC9F-640A-FC9DC982918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463517" y="434586"/>
            <a:ext cx="8898789" cy="138499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nect is your personalized digital learning experience designed to help you optimize study time and ramp up your grade potential.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115812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5FE5C0-3740-48B6-257B-EB91AF94E72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23DE1E0-F081-98B5-7C7F-C81D1BC590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8EA62FD0-67B8-7050-235A-3934542814F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71A9899A-89AC-6F0C-D7AD-CCFD340141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2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5B7E9B0-2B78-B524-F60A-C1F963508C1A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5000283" cy="438345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You have three registration options (right to left):</a:t>
            </a:r>
            <a:endParaRPr lang="en-US" sz="1800"/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to use a credit card or PayPal.</a:t>
            </a:r>
            <a:endParaRPr lang="en-US" sz="1800">
              <a:solidFill>
                <a:srgbClr val="333333"/>
              </a:solidFill>
              <a:latin typeface="Arial"/>
              <a:cs typeface="Arial"/>
            </a:endParaRP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Enter a Connect and Sharpen access code and 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Redee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  </a:t>
            </a:r>
          </a:p>
          <a:p>
            <a:pPr marL="342900" indent="-342900">
              <a:buAutoNum type="alphaUcPeriod"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Temporary Access: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lick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 Access Now 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for two-week temporary access. Note this unlocks Connect only and not Sharpen. </a:t>
            </a:r>
          </a:p>
        </p:txBody>
      </p:sp>
      <p:grpSp>
        <p:nvGrpSpPr>
          <p:cNvPr id="14" name="Group 13" descr="Course access page screenshot showing the 3 registration options: purchase online, enter access code, or activate temporary access.">
            <a:extLst>
              <a:ext uri="{FF2B5EF4-FFF2-40B4-BE49-F238E27FC236}">
                <a16:creationId xmlns:a16="http://schemas.microsoft.com/office/drawing/2014/main" id="{4733343C-1A2B-1EE0-0C54-B0B3B567F1E7}"/>
              </a:ext>
            </a:extLst>
          </p:cNvPr>
          <p:cNvGrpSpPr/>
          <p:nvPr/>
        </p:nvGrpSpPr>
        <p:grpSpPr>
          <a:xfrm>
            <a:off x="185773" y="1105308"/>
            <a:ext cx="5730908" cy="4381500"/>
            <a:chOff x="266591" y="1243853"/>
            <a:chExt cx="5730908" cy="4381500"/>
          </a:xfrm>
        </p:grpSpPr>
        <p:pic>
          <p:nvPicPr>
            <p:cNvPr id="8" name="Picture 7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F836DEDE-A82D-6FB3-1B13-A07FB39BE30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6591" y="1243853"/>
              <a:ext cx="5730908" cy="4381500"/>
            </a:xfrm>
            <a:prstGeom prst="rect">
              <a:avLst/>
            </a:prstGeom>
          </p:spPr>
        </p:pic>
        <p:pic>
          <p:nvPicPr>
            <p:cNvPr id="12" name="Picture 11" descr="A screenshot of a computer&#10;&#10;AI-generated content may be incorrect.">
              <a:extLst>
                <a:ext uri="{FF2B5EF4-FFF2-40B4-BE49-F238E27FC236}">
                  <a16:creationId xmlns:a16="http://schemas.microsoft.com/office/drawing/2014/main" id="{B13C0025-96B0-5F0B-10C7-516919AE2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rcRect l="3617" t="60199" r="67998" b="3881"/>
            <a:stretch/>
          </p:blipFill>
          <p:spPr>
            <a:xfrm>
              <a:off x="318433" y="3710365"/>
              <a:ext cx="1762651" cy="169230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534318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492B74-D9D2-8691-D9A8-85FA4B83211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723199-BC19-B1AB-FAA7-04EA388720B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172D71B6-4955-6CA6-A359-5C445E79F69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1E745926-269B-F52C-7AD9-15C2EBDAD11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7C80C877-A065-BC51-F984-7B68EC3A329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852666" cy="1969636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25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8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8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Purchase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to use a credit card or PayPal. Enter your payment information and click "Place Order". A purchase confirmation page will load.</a:t>
            </a:r>
          </a:p>
          <a:p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Congratulations! You have successfully completed your Connect and Sharpen Companion purchase.</a:t>
            </a:r>
            <a:endParaRPr lang="en-US" sz="17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  <a:buAutoNum type="alphaU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5" name="Picture 14" descr="Secure checkout page screenshot. ">
            <a:extLst>
              <a:ext uri="{FF2B5EF4-FFF2-40B4-BE49-F238E27FC236}">
                <a16:creationId xmlns:a16="http://schemas.microsoft.com/office/drawing/2014/main" id="{B49D66EA-9C68-AE1F-4A04-30BF7606EE1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3202" y="846667"/>
            <a:ext cx="3788833" cy="2769812"/>
          </a:xfrm>
          <a:prstGeom prst="rect">
            <a:avLst/>
          </a:prstGeom>
        </p:spPr>
      </p:pic>
      <p:pic>
        <p:nvPicPr>
          <p:cNvPr id="17" name="Picture 16" descr="Post-purchase confirmation page screenshot.">
            <a:extLst>
              <a:ext uri="{FF2B5EF4-FFF2-40B4-BE49-F238E27FC236}">
                <a16:creationId xmlns:a16="http://schemas.microsoft.com/office/drawing/2014/main" id="{07529E64-B203-0083-8EBA-37183B81845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46196" y="3722551"/>
            <a:ext cx="4625219" cy="2965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162825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ACB2D3-A62E-6B72-7291-BBF3CD3D0EB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D5640AA-B501-CD99-08EE-3A4C9ABD83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CE92F4B-3F44-16DB-4DC7-A4C98286CC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F5ABE90C-6663-4708-7248-2219132F6E9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759388" y="1111623"/>
            <a:ext cx="3942773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3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4184A6-B55F-FEAE-838B-22FC8848CEBB}"/>
              </a:ext>
            </a:extLst>
          </p:cNvPr>
          <p:cNvSpPr txBox="1">
            <a:spLocks/>
          </p:cNvSpPr>
          <p:nvPr/>
        </p:nvSpPr>
        <p:spPr>
          <a:xfrm>
            <a:off x="6755934" y="1718796"/>
            <a:ext cx="4752881" cy="338477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Access Code Confirmation Screen appears.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The Digital access confirmation screen appears. On the next screen, click </a:t>
            </a:r>
            <a:r>
              <a:rPr lang="en-US" sz="1800" b="1">
                <a:solidFill>
                  <a:srgbClr val="000000"/>
                </a:solidFill>
                <a:latin typeface="Arial"/>
                <a:cs typeface="Arial"/>
              </a:rPr>
              <a:t>Confirm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.</a:t>
            </a:r>
            <a:endParaRPr lang="en-US"/>
          </a:p>
          <a:p>
            <a:pPr>
              <a:spcAft>
                <a:spcPts val="900"/>
              </a:spcAft>
              <a:buAutoNum type="arabicPeriod"/>
            </a:pPr>
            <a:endParaRPr lang="en-US" sz="1800">
              <a:solidFill>
                <a:srgbClr val="333333"/>
              </a:solidFill>
            </a:endParaRPr>
          </a:p>
        </p:txBody>
      </p:sp>
      <p:pic>
        <p:nvPicPr>
          <p:cNvPr id="12" name="Picture 11" descr="Access code confirmation page screenshot.">
            <a:extLst>
              <a:ext uri="{FF2B5EF4-FFF2-40B4-BE49-F238E27FC236}">
                <a16:creationId xmlns:a16="http://schemas.microsoft.com/office/drawing/2014/main" id="{3405731D-3A75-21A0-9B62-B47F2748554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42102" y="1106826"/>
            <a:ext cx="4908534" cy="2291791"/>
          </a:xfrm>
          <a:prstGeom prst="rect">
            <a:avLst/>
          </a:prstGeom>
        </p:spPr>
      </p:pic>
      <p:pic>
        <p:nvPicPr>
          <p:cNvPr id="15" name="Picture 14" descr="Temporary access confirmation page screenshot.">
            <a:extLst>
              <a:ext uri="{FF2B5EF4-FFF2-40B4-BE49-F238E27FC236}">
                <a16:creationId xmlns:a16="http://schemas.microsoft.com/office/drawing/2014/main" id="{9EBDBBCC-E9FD-5D6D-4381-9D17726BAA2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47888" y="4207177"/>
            <a:ext cx="5223178" cy="23383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5871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57CF02-F0D3-8DE7-A2F3-F0A61029021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0945B2-0330-2F5D-351E-42B67E5EC39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F849A1D-5F42-6354-E7B3-C81E2F087CD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DCF6A27F-3C12-AA7E-D95D-47066D8E9B6F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EC7700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A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02E5BC5F-1E09-88F5-A303-7993B3B1DC7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AutoNum type="alphaUcPeriod"/>
            </a:pPr>
            <a:r>
              <a:rPr lang="en-US" sz="1700" b="1">
                <a:solidFill>
                  <a:srgbClr val="EC7700"/>
                </a:solidFill>
                <a:latin typeface="Arial"/>
                <a:cs typeface="Arial"/>
              </a:rPr>
              <a:t>Purchase Online:</a:t>
            </a:r>
            <a:r>
              <a:rPr lang="en-US" sz="1700" b="1">
                <a:solidFill>
                  <a:srgbClr val="ED7D31"/>
                </a:solidFill>
                <a:latin typeface="Arial"/>
                <a:cs typeface="Arial"/>
              </a:rPr>
              <a:t> 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On the purchase confirmation page, click </a:t>
            </a:r>
            <a:r>
              <a:rPr lang="en-US" sz="1700" b="1">
                <a:solidFill>
                  <a:srgbClr val="000000"/>
                </a:solidFill>
                <a:latin typeface="Arial"/>
                <a:cs typeface="Arial"/>
              </a:rPr>
              <a:t>Complete Registration</a:t>
            </a:r>
            <a:r>
              <a:rPr lang="en-US" sz="1700">
                <a:solidFill>
                  <a:srgbClr val="000000"/>
                </a:solidFill>
                <a:latin typeface="Arial"/>
                <a:cs typeface="Arial"/>
              </a:rPr>
              <a:t>. </a:t>
            </a: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 b="1" i="1">
              <a:solidFill>
                <a:srgbClr val="000000"/>
              </a:solidFill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successfully joined your course.</a:t>
            </a: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" name="Picture 1" descr="Screenshot of post-purchase confirmation page highlighting the &quot;Complete Registration&quot; button.">
            <a:extLst>
              <a:ext uri="{FF2B5EF4-FFF2-40B4-BE49-F238E27FC236}">
                <a16:creationId xmlns:a16="http://schemas.microsoft.com/office/drawing/2014/main" id="{E34CF3BB-2E6A-CD43-7F7F-992EA4E3A15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49383" y="960439"/>
            <a:ext cx="5631874" cy="3459309"/>
          </a:xfrm>
          <a:prstGeom prst="rect">
            <a:avLst/>
          </a:prstGeom>
        </p:spPr>
      </p:pic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0A08F7B-6D27-CE80-1A66-40521B52A4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00672" y="3770183"/>
            <a:ext cx="1237282" cy="5282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22592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99C6A1-0903-4970-80B5-A58F39F04AF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ACC8DF5-513C-EFF0-87C3-9A030980F0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41CA52A8-A48D-B772-0A50-03697126389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E5FB91CC-D65A-73CE-428F-676227C7C5C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49000"/>
                  </a:schemeClr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B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-4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A92FF04-D53E-037B-450F-005930AADF6F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 lnSpcReduction="10000"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800" b="1">
                <a:solidFill>
                  <a:srgbClr val="692146"/>
                </a:solidFill>
                <a:latin typeface="Arial"/>
                <a:cs typeface="Arial"/>
              </a:rPr>
              <a:t>B. Enter Code</a:t>
            </a:r>
            <a:r>
              <a:rPr lang="en-US" sz="1800" b="1">
                <a:solidFill>
                  <a:srgbClr val="7030A0"/>
                </a:solidFill>
                <a:latin typeface="Arial"/>
                <a:cs typeface="Arial"/>
              </a:rPr>
              <a:t>: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Click </a:t>
            </a: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Complete Registration</a:t>
            </a:r>
            <a:r>
              <a:rPr lang="en-US" sz="1800" b="1" i="1">
                <a:solidFill>
                  <a:srgbClr val="333333"/>
                </a:solidFill>
                <a:latin typeface="Arial"/>
                <a:cs typeface="Arial"/>
              </a:rPr>
              <a:t>. </a:t>
            </a:r>
            <a:endParaRPr lang="en-US" sz="1800">
              <a:latin typeface="Arial"/>
              <a:cs typeface="Arial"/>
            </a:endParaRPr>
          </a:p>
          <a:p>
            <a:pPr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:</a:t>
            </a: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 </a:t>
            </a:r>
            <a:r>
              <a:rPr lang="en-US" sz="1800">
                <a:latin typeface="Arial"/>
                <a:cs typeface="Arial"/>
              </a:rPr>
              <a:t>Click </a:t>
            </a:r>
            <a:r>
              <a:rPr lang="en-US" sz="1800" b="1">
                <a:latin typeface="Arial"/>
                <a:cs typeface="Arial"/>
              </a:rPr>
              <a:t>Complete Registration</a:t>
            </a:r>
            <a:r>
              <a:rPr lang="en-US" sz="1800" b="1" i="1">
                <a:latin typeface="Arial"/>
                <a:cs typeface="Arial"/>
              </a:rPr>
              <a:t>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Congratulations! You have 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successfully joined your course.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>
              <a:buNone/>
            </a:pPr>
            <a:r>
              <a:rPr lang="en-US" sz="1800" b="1">
                <a:solidFill>
                  <a:srgbClr val="333333"/>
                </a:solidFill>
                <a:latin typeface="Arial"/>
                <a:cs typeface="Arial"/>
              </a:rPr>
              <a:t>Reminder</a:t>
            </a:r>
            <a:r>
              <a:rPr lang="en-US" sz="1800">
                <a:solidFill>
                  <a:srgbClr val="333333"/>
                </a:solidFill>
                <a:latin typeface="Arial"/>
                <a:cs typeface="Arial"/>
              </a:rPr>
              <a:t>: if you used Temporary Access, this applies only to Connect and not Sharpen. 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 b="1" i="1">
              <a:solidFill>
                <a:srgbClr val="333333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25" name="Picture 24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059FE09C-9DE5-1585-FCDD-17A4742F15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3483" y="1159382"/>
            <a:ext cx="5222892" cy="2488560"/>
          </a:xfrm>
          <a:prstGeom prst="rect">
            <a:avLst/>
          </a:prstGeom>
        </p:spPr>
      </p:pic>
      <p:sp>
        <p:nvSpPr>
          <p:cNvPr id="27" name="Rectangle: Rounded Corners 26">
            <a:extLst>
              <a:ext uri="{FF2B5EF4-FFF2-40B4-BE49-F238E27FC236}">
                <a16:creationId xmlns:a16="http://schemas.microsoft.com/office/drawing/2014/main" id="{37FFEAF5-77B2-5E95-7F49-3A829C3F0E9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01630" y="1724553"/>
            <a:ext cx="2001950" cy="972767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Screenshot highlighting the Complete Registration button users must click on to join the course.">
            <a:extLst>
              <a:ext uri="{FF2B5EF4-FFF2-40B4-BE49-F238E27FC236}">
                <a16:creationId xmlns:a16="http://schemas.microsoft.com/office/drawing/2014/main" id="{18DCA569-E74B-E40C-300F-7B04AADE4E3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77975" y="4074282"/>
            <a:ext cx="5129289" cy="2446868"/>
          </a:xfrm>
          <a:prstGeom prst="rect">
            <a:avLst/>
          </a:prstGeom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105BECCD-AFC0-3C33-D86B-34BA0EE18C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602366" y="4607925"/>
            <a:ext cx="1905188" cy="888101"/>
          </a:xfrm>
          <a:prstGeom prst="roundRect">
            <a:avLst/>
          </a:prstGeom>
          <a:noFill/>
          <a:ln w="57150">
            <a:solidFill>
              <a:srgbClr val="FFC00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15284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3935D-536C-DBB1-0374-6010491D20D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27B7B0-B3DF-D45E-1F32-D2F5AF7048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0860B82F-3DF6-35B8-CE8D-9A124B3367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114993E-0F8E-6E13-DF20-B6B837A5CEFD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7109496" y="1121920"/>
            <a:ext cx="2038509" cy="461665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Step 5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C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Calibri"/>
              </a:rPr>
              <a:t>: 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FC82BDFC-AFF3-33C4-2DE1-B3C19FE371E0}"/>
              </a:ext>
            </a:extLst>
          </p:cNvPr>
          <p:cNvSpPr txBox="1">
            <a:spLocks/>
          </p:cNvSpPr>
          <p:nvPr/>
        </p:nvSpPr>
        <p:spPr>
          <a:xfrm>
            <a:off x="7106042" y="1718796"/>
            <a:ext cx="4752881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None/>
            </a:pPr>
            <a:r>
              <a:rPr lang="en-US" sz="1800" b="1">
                <a:solidFill>
                  <a:srgbClr val="E21A23"/>
                </a:solidFill>
                <a:latin typeface="Arial"/>
                <a:cs typeface="Arial"/>
              </a:rPr>
              <a:t>C. Temporary Access</a:t>
            </a: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latin typeface="Arial"/>
                <a:cs typeface="Arial"/>
              </a:rPr>
              <a:t>When your two-week Temporary Access Expires, you will be directed to the Course Access Page to redeem the Connect and Sharpen Companion access code or purchase Connect and Sharpen Companion. </a:t>
            </a:r>
            <a:endParaRPr lang="en-US" sz="1800">
              <a:solidFill>
                <a:srgbClr val="000000"/>
              </a:solidFill>
            </a:endParaRPr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buNone/>
            </a:pPr>
            <a:r>
              <a:rPr lang="en-US" sz="1800">
                <a:solidFill>
                  <a:srgbClr val="000000"/>
                </a:solidFill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You can view more information and instructions here</a:t>
            </a:r>
            <a:r>
              <a:rPr lang="en-US" sz="1800">
                <a:solidFill>
                  <a:srgbClr val="000000"/>
                </a:solidFill>
              </a:rPr>
              <a:t>.</a:t>
            </a:r>
            <a:endParaRPr lang="en-US"/>
          </a:p>
          <a:p>
            <a:pPr marL="0" indent="0">
              <a:buNone/>
            </a:pPr>
            <a:endParaRPr lang="en-US" sz="1800">
              <a:solidFill>
                <a:srgbClr val="000000"/>
              </a:solidFill>
            </a:endParaRPr>
          </a:p>
          <a:p>
            <a:pPr>
              <a:spcAft>
                <a:spcPts val="900"/>
              </a:spcAft>
            </a:pPr>
            <a:endParaRPr lang="en-US" sz="1800">
              <a:latin typeface="Arial"/>
              <a:cs typeface="Arial"/>
            </a:endParaRPr>
          </a:p>
        </p:txBody>
      </p:sp>
      <p:pic>
        <p:nvPicPr>
          <p:cNvPr id="12" name="Picture 11" descr="Course Access page screenshot showing the Access Code and Purchase flows a user will see after using their Temporary Access.">
            <a:extLst>
              <a:ext uri="{FF2B5EF4-FFF2-40B4-BE49-F238E27FC236}">
                <a16:creationId xmlns:a16="http://schemas.microsoft.com/office/drawing/2014/main" id="{64124D77-4556-1A1B-AD75-EF707131192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6098" y="2034475"/>
            <a:ext cx="4424246" cy="315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563090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D36C09F-B439-09FE-A7A7-0F8C9627B3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2716137"/>
            <a:ext cx="2308129" cy="1948908"/>
          </a:xfrm>
        </p:spPr>
        <p:txBody>
          <a:bodyPr/>
          <a:lstStyle/>
          <a:p>
            <a:r>
              <a:rPr lang="en-US">
                <a:latin typeface="Arial"/>
                <a:cs typeface="Arial"/>
              </a:rPr>
              <a:t>Register for Connect in Your School’s LM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6B5F1E2-17B3-A013-C959-291EBE67D76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183292B-5D85-5CE6-D8BC-45D98E7161D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43400" y="1379558"/>
            <a:ext cx="7081838" cy="5038071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For instructions specific to your school’s LMS, visit: </a:t>
            </a:r>
            <a:br>
              <a:rPr lang="en-US"/>
            </a:br>
            <a:r>
              <a:rPr lang="en-US">
                <a:latin typeface="Arial"/>
                <a:cs typeface="Arial"/>
                <a:hlinkClick r:id="rId3"/>
              </a:rPr>
              <a:t>https://www.mheducation.com/highered/support/connect/first-day-of-class.html</a:t>
            </a:r>
            <a:r>
              <a:rPr lang="en-US">
                <a:latin typeface="Arial"/>
                <a:cs typeface="Arial"/>
              </a:rPr>
              <a:t> </a:t>
            </a: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br>
              <a:rPr lang="en-US"/>
            </a:br>
            <a:endParaRPr lang="en-US"/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Then create a new account or sign in with an existing account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You will be prompted to create a new Connect account or sign in with an existing Connect account. Depending on your school's setup, some fields may need to be input to complete the registration. Click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Create Account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or </a:t>
            </a:r>
            <a:r>
              <a:rPr lang="en-US" b="1">
                <a:solidFill>
                  <a:srgbClr val="000000"/>
                </a:solidFill>
                <a:latin typeface="Arial"/>
                <a:cs typeface="Arial"/>
              </a:rPr>
              <a:t>Sign In</a:t>
            </a:r>
            <a:r>
              <a:rPr lang="en-US">
                <a:solidFill>
                  <a:srgbClr val="000000"/>
                </a:solidFill>
                <a:latin typeface="Arial"/>
                <a:cs typeface="Arial"/>
              </a:rPr>
              <a:t> to complete the pairing process.</a:t>
            </a:r>
          </a:p>
          <a:p>
            <a:pPr>
              <a:lnSpc>
                <a:spcPct val="100000"/>
              </a:lnSpc>
              <a:spcBef>
                <a:spcPts val="1200"/>
              </a:spcBef>
            </a:pPr>
            <a:endParaRPr lang="en-US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67637BD4-5C8B-448B-98F7-B5F26B4401F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5653" y="144202"/>
            <a:ext cx="1923691" cy="458154"/>
          </a:xfrm>
          <a:prstGeom prst="rect">
            <a:avLst/>
          </a:prstGeom>
        </p:spPr>
      </p:pic>
      <p:pic>
        <p:nvPicPr>
          <p:cNvPr id="2" name="Picture 7" descr="QR code to scan and access instructions specific to your school's LMS.">
            <a:extLst>
              <a:ext uri="{FF2B5EF4-FFF2-40B4-BE49-F238E27FC236}">
                <a16:creationId xmlns:a16="http://schemas.microsoft.com/office/drawing/2014/main" id="{3C6EFCC5-CA1F-6A93-25A7-35C18928780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98305" y="2159939"/>
            <a:ext cx="2211010" cy="2163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49280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9ED406-8D56-2C03-32D9-8AD2857F1DF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F13D0F-03DE-8091-49AB-81C808C834F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7FB260E-1BE2-01E0-442F-8E686034E8DF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ts val="246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Sharpen Companion Log-In Flow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Non-IA and IA: Connect Integrated with a Learning Management System (LMS)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9A80E7AA-3628-3A3C-B899-2A1793FECEB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21228838-41E7-8743-64B3-0C2E5366B0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/>
              <a:t>Getting Started with McGraw Hill Connect</a:t>
            </a:r>
            <a:r>
              <a:rPr lang="en-US" baseline="30000"/>
              <a:t> ®</a:t>
            </a:r>
            <a:r>
              <a:rPr lang="en-US"/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EB1546F-E383-9624-DA0D-7BD40F19379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6EB94CDD-0A9D-0594-DEE2-47301F08604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40222" t="14251" b="246"/>
          <a:stretch/>
        </p:blipFill>
        <p:spPr>
          <a:xfrm>
            <a:off x="3884263" y="2957213"/>
            <a:ext cx="4834427" cy="389104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9AFD67B-AD9B-571D-45B5-45CAD26F37E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972455" y="4432478"/>
            <a:ext cx="2938738" cy="2177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286155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B074513-6A0B-C980-D365-3133946F277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7ECD388-BDE4-B32C-C722-895049EAC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E23E38D1-00F6-3830-D6A6-31656653483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84330957-D553-2BC9-BB60-B6DB5CD1EDD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6B941393-78B7-54EF-512E-227DB1DE7352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 LMS Cover Sheet includes two Sharpen launch points. 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First, click on the top LMS Cover Sheet to open a new page with the Sharpen access point. 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dirty="0"/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</p:txBody>
      </p:sp>
      <p:pic>
        <p:nvPicPr>
          <p:cNvPr id="7" name="Picture 6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B2102AB5-EC71-434C-FEB4-30BD35AD570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9" name="Picture 8" descr="Screenshot of Begin button to launch Sharpen. Yellow rectangle highlights the Begin button.">
            <a:extLst>
              <a:ext uri="{FF2B5EF4-FFF2-40B4-BE49-F238E27FC236}">
                <a16:creationId xmlns:a16="http://schemas.microsoft.com/office/drawing/2014/main" id="{84543BC3-0BFA-C64F-A2FD-2E27DA75B59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293012" y="3542117"/>
            <a:ext cx="3512724" cy="304044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47C414CE-01BC-DF89-2A35-01DEC0A5CDF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6" y="1913162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19" name="Picture 18" descr="Sharpen web app that opens after students open Sharpen from Connect.">
            <a:extLst>
              <a:ext uri="{FF2B5EF4-FFF2-40B4-BE49-F238E27FC236}">
                <a16:creationId xmlns:a16="http://schemas.microsoft.com/office/drawing/2014/main" id="{E2528E62-6FA8-04B7-83E7-01D693DAE8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A283A2C-66F4-FF97-9062-124486E7BD0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66043" y="4639053"/>
            <a:ext cx="1191591" cy="350074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01240278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1343D05-AEF8-801C-8B9F-B0679DE8721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FC12CF5-2A6D-250F-0D68-A02ADF266DE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Connect</a:t>
            </a:r>
            <a:r>
              <a:rPr lang="en-US" baseline="30000">
                <a:latin typeface="Arial"/>
                <a:cs typeface="Arial"/>
              </a:rPr>
              <a:t>®</a:t>
            </a:r>
            <a:endParaRPr lang="en-US">
              <a:latin typeface="Arial"/>
              <a:cs typeface="Arial"/>
            </a:endParaRPr>
          </a:p>
        </p:txBody>
      </p:sp>
      <p:pic>
        <p:nvPicPr>
          <p:cNvPr id="5" name="Picture 2">
            <a:extLst>
              <a:ext uri="{FF2B5EF4-FFF2-40B4-BE49-F238E27FC236}">
                <a16:creationId xmlns:a16="http://schemas.microsoft.com/office/drawing/2014/main" id="{3651F751-DC0E-2BE1-C873-7E1D158E2DF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023" y="115979"/>
            <a:ext cx="1923691" cy="458154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4DDBEFD0-351C-13DB-D55D-F55EAEF877E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921470" y="923998"/>
            <a:ext cx="5256390" cy="830997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Sharpen Companion Log-In Flow</a:t>
            </a:r>
            <a:b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</a:b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Calibri"/>
                <a:cs typeface="Arial"/>
              </a:rPr>
              <a:t>Part 2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Calibri"/>
              <a:cs typeface="Arial"/>
            </a:endParaRP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EA66A1F-AB04-9744-8BCF-BC5DA997EF21}"/>
              </a:ext>
            </a:extLst>
          </p:cNvPr>
          <p:cNvSpPr txBox="1">
            <a:spLocks/>
          </p:cNvSpPr>
          <p:nvPr/>
        </p:nvSpPr>
        <p:spPr>
          <a:xfrm>
            <a:off x="6921470" y="1754995"/>
            <a:ext cx="5119036" cy="4373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None/>
            </a:pPr>
            <a:r>
              <a:rPr lang="en-US" sz="1800" b="1" dirty="0">
                <a:latin typeface="Arial"/>
                <a:cs typeface="Arial"/>
              </a:rPr>
              <a:t>LMS Cover Sheet</a:t>
            </a:r>
            <a:r>
              <a:rPr lang="en-US" sz="1800" dirty="0">
                <a:latin typeface="Arial"/>
                <a:cs typeface="Arial"/>
              </a:rPr>
              <a:t>: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Then, click on the bottom Sharpen assignment to open a new page with the Sharpen access point. 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r>
              <a:rPr lang="en-US" sz="1800" dirty="0">
                <a:latin typeface="Arial"/>
                <a:cs typeface="Arial"/>
              </a:rPr>
              <a:t>Click </a:t>
            </a:r>
            <a:r>
              <a:rPr lang="en-US" sz="1800" b="1" dirty="0">
                <a:latin typeface="Arial"/>
                <a:cs typeface="Arial"/>
              </a:rPr>
              <a:t>Begin </a:t>
            </a:r>
            <a:r>
              <a:rPr lang="en-US" sz="1800" dirty="0">
                <a:latin typeface="Arial"/>
                <a:cs typeface="Arial"/>
              </a:rPr>
              <a:t>to launch Sharpen in a new web window.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1800" dirty="0">
              <a:latin typeface="Arial"/>
              <a:cs typeface="Arial"/>
            </a:endParaRPr>
          </a:p>
          <a:p>
            <a:pPr marL="0" indent="0">
              <a:lnSpc>
                <a:spcPct val="110000"/>
              </a:lnSpc>
              <a:buNone/>
            </a:pPr>
            <a:endParaRPr lang="en-US" sz="800" dirty="0">
              <a:latin typeface="Arial"/>
              <a:cs typeface="Arial"/>
            </a:endParaRPr>
          </a:p>
        </p:txBody>
      </p:sp>
      <p:pic>
        <p:nvPicPr>
          <p:cNvPr id="6" name="Picture 5" descr="Screenshot of Sharpen access points on the Connect page. Yellow rectangle highlights the assignment.">
            <a:extLst>
              <a:ext uri="{FF2B5EF4-FFF2-40B4-BE49-F238E27FC236}">
                <a16:creationId xmlns:a16="http://schemas.microsoft.com/office/drawing/2014/main" id="{C98E3267-1366-3737-FC75-06C918A0D40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3177" y="923999"/>
            <a:ext cx="5355442" cy="2608548"/>
          </a:xfrm>
          <a:prstGeom prst="rect">
            <a:avLst/>
          </a:prstGeom>
        </p:spPr>
      </p:pic>
      <p:pic>
        <p:nvPicPr>
          <p:cNvPr id="10" name="Picture 9" descr="Screenshot of Begin button to launch Sharpen. Yellow rectangle highlights the Launch point.">
            <a:extLst>
              <a:ext uri="{FF2B5EF4-FFF2-40B4-BE49-F238E27FC236}">
                <a16:creationId xmlns:a16="http://schemas.microsoft.com/office/drawing/2014/main" id="{FD1BC754-F213-B3DE-5D98-37E33D52860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4494" y="3708144"/>
            <a:ext cx="4898572" cy="260764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E35856B0-0EC7-0B8A-ADEE-DC55B78D028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488455" y="2364259"/>
            <a:ext cx="1006467" cy="249219"/>
          </a:xfrm>
          <a:prstGeom prst="rect">
            <a:avLst/>
          </a:prstGeom>
          <a:ln>
            <a:solidFill>
              <a:srgbClr val="FFFF00"/>
            </a:solidFill>
          </a:ln>
        </p:spPr>
      </p:pic>
      <p:pic>
        <p:nvPicPr>
          <p:cNvPr id="7" name="Picture 6" descr="Sharpen web app that opens after students open Sharpen from Connect.">
            <a:extLst>
              <a:ext uri="{FF2B5EF4-FFF2-40B4-BE49-F238E27FC236}">
                <a16:creationId xmlns:a16="http://schemas.microsoft.com/office/drawing/2014/main" id="{7F45EF98-FA8C-618D-6CBC-CC920CB809F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177643" y="4554250"/>
            <a:ext cx="5950857" cy="1450642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C953D034-9077-D990-6712-74D321D332A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08072" y="5412259"/>
            <a:ext cx="1465908" cy="417307"/>
          </a:xfrm>
          <a:prstGeom prst="rect">
            <a:avLst/>
          </a:prstGeom>
          <a:ln>
            <a:solidFill>
              <a:srgbClr val="FFFF00"/>
            </a:solidFill>
          </a:ln>
        </p:spPr>
      </p:pic>
    </p:spTree>
    <p:extLst>
      <p:ext uri="{BB962C8B-B14F-4D97-AF65-F5344CB8AC3E}">
        <p14:creationId xmlns:p14="http://schemas.microsoft.com/office/powerpoint/2010/main" val="287195198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1457734" y="2318515"/>
            <a:ext cx="2731443" cy="2731443"/>
          </a:xfrm>
          <a:prstGeom prst="ellipse">
            <a:avLst/>
          </a:prstGeom>
          <a:solidFill>
            <a:srgbClr val="C00000"/>
          </a:solidFill>
          <a:ln>
            <a:noFill/>
          </a:ln>
          <a:effectLst>
            <a:outerShdw blurRad="254000" dist="38100" dir="2700000" algn="tl" rotWithShape="0">
              <a:prstClr val="black">
                <a:alpha val="47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2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!</a:t>
            </a:r>
          </a:p>
        </p:txBody>
      </p:sp>
      <p:sp>
        <p:nvSpPr>
          <p:cNvPr id="5" name="Diamond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380681" y="2352971"/>
            <a:ext cx="243749" cy="243749"/>
          </a:xfrm>
          <a:prstGeom prst="diamond">
            <a:avLst/>
          </a:prstGeom>
          <a:solidFill>
            <a:srgbClr val="CC00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6" name="Diamond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593459" y="5641705"/>
            <a:ext cx="243749" cy="243749"/>
          </a:xfrm>
          <a:prstGeom prst="diamond">
            <a:avLst/>
          </a:prstGeom>
          <a:solidFill>
            <a:srgbClr val="E3BAFE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7" name="Diamond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599540" y="4623555"/>
            <a:ext cx="243749" cy="243749"/>
          </a:xfrm>
          <a:prstGeom prst="diamond">
            <a:avLst/>
          </a:prstGeom>
          <a:solidFill>
            <a:srgbClr val="7030A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8" name="Diamond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774688" y="3444413"/>
            <a:ext cx="243749" cy="243749"/>
          </a:xfrm>
          <a:prstGeom prst="diamond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13" name="Straight Connector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90291" y="3561134"/>
            <a:ext cx="1414852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902912" y="4752523"/>
            <a:ext cx="1494151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948047" y="5770672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Oval 1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63964" y="3124116"/>
            <a:ext cx="926088" cy="926088"/>
          </a:xfrm>
          <a:prstGeom prst="ellipse">
            <a:avLst/>
          </a:prstGeom>
          <a:solidFill>
            <a:schemeClr val="accent3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sp>
        <p:nvSpPr>
          <p:cNvPr id="17" name="Oval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647004" y="4336522"/>
            <a:ext cx="926088" cy="926088"/>
          </a:xfrm>
          <a:prstGeom prst="ellipse">
            <a:avLst/>
          </a:prstGeom>
          <a:solidFill>
            <a:srgbClr val="7030A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8" name="Oval 1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49987" y="5387649"/>
            <a:ext cx="926088" cy="926088"/>
          </a:xfrm>
          <a:prstGeom prst="ellipse">
            <a:avLst/>
          </a:prstGeom>
          <a:solidFill>
            <a:srgbClr val="E3BAFE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cxnSp>
        <p:nvCxnSpPr>
          <p:cNvPr id="22" name="Straight Connector 2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4721415" y="2462964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2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6247343" y="1972092"/>
            <a:ext cx="926088" cy="926088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12" name="Diamond 11">
            <a:extLst>
              <a:ext uri="{FF2B5EF4-FFF2-40B4-BE49-F238E27FC236}">
                <a16:creationId xmlns:a16="http://schemas.microsoft.com/office/drawing/2014/main" id="{A1F7072A-CFCF-833C-0C76-8305D4EA97D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3035795" y="1448962"/>
            <a:ext cx="243749" cy="243749"/>
          </a:xfrm>
          <a:prstGeom prst="diamond">
            <a:avLst/>
          </a:prstGeom>
          <a:solidFill>
            <a:srgbClr val="00206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6061442-C886-DFB1-AC08-A0DF6B95D9B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4955397" y="946388"/>
            <a:ext cx="926088" cy="926088"/>
          </a:xfrm>
          <a:prstGeom prst="ellipse">
            <a:avLst/>
          </a:prstGeom>
          <a:solidFill>
            <a:srgbClr val="002060"/>
          </a:solidFill>
          <a:ln>
            <a:noFill/>
          </a:ln>
          <a:effectLst>
            <a:innerShdw blurRad="165100" dir="13500000">
              <a:prstClr val="black">
                <a:alpha val="67000"/>
              </a:prstClr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dirty="0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8E1C89F4-1B61-7055-85B8-9DA1D5B8C61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 noGrp="1" noRot="1" noMove="1" noResize="1" noEditPoints="1" noAdjustHandles="1" noChangeArrowheads="1" noChangeShapeType="1"/>
          </p:cNvCxnSpPr>
          <p:nvPr/>
        </p:nvCxnSpPr>
        <p:spPr>
          <a:xfrm>
            <a:off x="3390383" y="1577929"/>
            <a:ext cx="1384305" cy="0"/>
          </a:xfrm>
          <a:prstGeom prst="line">
            <a:avLst/>
          </a:prstGeom>
          <a:ln>
            <a:solidFill>
              <a:schemeClr val="bg1">
                <a:lumMod val="8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6C46B8-D4FE-0D7C-6202-530A521276CA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/>
        </p:nvSpPr>
        <p:spPr>
          <a:xfrm>
            <a:off x="46667" y="6129970"/>
            <a:ext cx="11669636" cy="603634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0000" lnSpcReduction="20000"/>
          </a:bodyPr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0">
              <a:spcAft>
                <a:spcPts val="600"/>
              </a:spcAft>
              <a:buFont typeface="Arial" panose="020B0604020202020204" pitchFamily="34" charset="0"/>
              <a:buNone/>
            </a:pPr>
            <a:endParaRPr lang="en-US" dirty="0"/>
          </a:p>
          <a:p>
            <a:pPr marL="0" indent="0">
              <a:buNone/>
            </a:pPr>
            <a:r>
              <a:rPr lang="en-US" sz="1400" b="0" dirty="0">
                <a:latin typeface="Arial"/>
                <a:cs typeface="Arial"/>
              </a:rPr>
              <a:t>*  </a:t>
            </a:r>
            <a:r>
              <a:rPr lang="en-US" sz="1400" b="0" i="1" dirty="0" err="1">
                <a:latin typeface="Arial"/>
                <a:cs typeface="Arial"/>
              </a:rPr>
              <a:t>ReadAnywhere</a:t>
            </a:r>
            <a:r>
              <a:rPr lang="en-US" sz="1400" b="0" i="1" dirty="0">
                <a:latin typeface="Arial"/>
                <a:cs typeface="Arial"/>
              </a:rPr>
              <a:t> supports newer eBooks and </a:t>
            </a:r>
            <a:r>
              <a:rPr lang="en-US" sz="1400" b="0" i="1" dirty="0" err="1">
                <a:latin typeface="Arial"/>
                <a:cs typeface="Arial"/>
              </a:rPr>
              <a:t>SmartBook</a:t>
            </a:r>
            <a:r>
              <a:rPr lang="en-US" sz="1400" b="0" i="1" dirty="0">
                <a:latin typeface="Arial"/>
                <a:cs typeface="Arial"/>
              </a:rPr>
              <a:t> - may not be available in your Connect course. Sharpen available in most courses.</a:t>
            </a:r>
            <a:endParaRPr lang="en-US" b="0" dirty="0">
              <a:latin typeface="Arial"/>
              <a:cs typeface="Arial"/>
            </a:endParaRPr>
          </a:p>
          <a:p>
            <a:endParaRPr lang="en-US" dirty="0"/>
          </a:p>
        </p:txBody>
      </p:sp>
      <p:grpSp>
        <p:nvGrpSpPr>
          <p:cNvPr id="79" name="Group 78" descr="Get support when needed. Connect support is available 24/7 via chat or phone. Please reach out to them with any issues. They are there to help!">
            <a:extLst>
              <a:ext uri="{FF2B5EF4-FFF2-40B4-BE49-F238E27FC236}">
                <a16:creationId xmlns:a16="http://schemas.microsoft.com/office/drawing/2014/main" id="{60F9DCB8-D144-8DCD-73CA-2DAD61EB5929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6662552" y="5513314"/>
            <a:ext cx="4618053" cy="773924"/>
            <a:chOff x="6712960" y="1530785"/>
            <a:chExt cx="2405788" cy="773924"/>
          </a:xfrm>
        </p:grpSpPr>
        <p:sp>
          <p:nvSpPr>
            <p:cNvPr id="80" name="Rectangle 79">
              <a:extLst>
                <a:ext uri="{FF2B5EF4-FFF2-40B4-BE49-F238E27FC236}">
                  <a16:creationId xmlns:a16="http://schemas.microsoft.com/office/drawing/2014/main" id="{7E96D5CC-7B0E-74D7-25A4-2F887F0BDF2D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Connect support is available 24/7 via chat or phone. Please reach out to them with any issues. They are there to help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1E9868A-AD10-6242-D3FC-B97221004FE4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Get Support When Needed</a:t>
              </a:r>
            </a:p>
          </p:txBody>
        </p:sp>
      </p:grpSp>
      <p:pic>
        <p:nvPicPr>
          <p:cNvPr id="93" name="Graphic 92" descr="Lightbulb and gear outline">
            <a:extLst>
              <a:ext uri="{FF2B5EF4-FFF2-40B4-BE49-F238E27FC236}">
                <a16:creationId xmlns:a16="http://schemas.microsoft.com/office/drawing/2014/main" id="{F3D0A7AB-A13F-8A04-6C2D-858BF15858DD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761395" y="5473817"/>
            <a:ext cx="743764" cy="743764"/>
          </a:xfrm>
          <a:prstGeom prst="rect">
            <a:avLst/>
          </a:prstGeom>
        </p:spPr>
      </p:pic>
      <p:grpSp>
        <p:nvGrpSpPr>
          <p:cNvPr id="76" name="Group 75" descr="Use your resources. Prep like a pro with exam-like quizzes, flashcards, videos, and study tools aligned with your textbook.">
            <a:extLst>
              <a:ext uri="{FF2B5EF4-FFF2-40B4-BE49-F238E27FC236}">
                <a16:creationId xmlns:a16="http://schemas.microsoft.com/office/drawing/2014/main" id="{687B8526-DD28-8E16-6017-8FA65D22A318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44583" y="4379592"/>
            <a:ext cx="3809806" cy="989368"/>
            <a:chOff x="6712960" y="1530785"/>
            <a:chExt cx="2405788" cy="989368"/>
          </a:xfrm>
        </p:grpSpPr>
        <p:sp>
          <p:nvSpPr>
            <p:cNvPr id="77" name="Rectangle 76" descr="Use your resources. Prep like a pro with exam-like quizzes, flashcards, videos, and study tools aligned with your textbook.">
              <a:extLst>
                <a:ext uri="{FF2B5EF4-FFF2-40B4-BE49-F238E27FC236}">
                  <a16:creationId xmlns:a16="http://schemas.microsoft.com/office/drawing/2014/main" id="{05C7FFA6-1DA2-B6B4-9AD8-3C8AC852CF15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Prep like a pro with exam-like quizzes, flashcards, videos, and study tools aligned with your textbook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92BC0027-A31C-0F53-9CD8-B4A579D412E7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Use Your Resources</a:t>
              </a:r>
            </a:p>
          </p:txBody>
        </p:sp>
      </p:grpSp>
      <p:pic>
        <p:nvPicPr>
          <p:cNvPr id="91" name="Graphic 90" descr="Connections outline">
            <a:extLst>
              <a:ext uri="{FF2B5EF4-FFF2-40B4-BE49-F238E27FC236}">
                <a16:creationId xmlns:a16="http://schemas.microsoft.com/office/drawing/2014/main" id="{EDB9C382-3EB5-128A-D3CC-DC717CB757DA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820544" y="4502111"/>
            <a:ext cx="594910" cy="594910"/>
          </a:xfrm>
          <a:prstGeom prst="rect">
            <a:avLst/>
          </a:prstGeom>
        </p:spPr>
      </p:pic>
      <p:grpSp>
        <p:nvGrpSpPr>
          <p:cNvPr id="73" name="Group 72" descr="Know what to study. Recharge in SmartBook provides you with personalized studying of concepts you’ve learned. Built with the power of learning science, you’ll know just what to study!">
            <a:extLst>
              <a:ext uri="{FF2B5EF4-FFF2-40B4-BE49-F238E27FC236}">
                <a16:creationId xmlns:a16="http://schemas.microsoft.com/office/drawing/2014/main" id="{9F2F35AE-15BE-5686-2687-37F31526F887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661721" y="3048290"/>
            <a:ext cx="4378036" cy="1204811"/>
            <a:chOff x="6712960" y="1530785"/>
            <a:chExt cx="2405788" cy="1204811"/>
          </a:xfrm>
        </p:grpSpPr>
        <p:sp>
          <p:nvSpPr>
            <p:cNvPr id="74" name="Rectangle 73">
              <a:extLst>
                <a:ext uri="{FF2B5EF4-FFF2-40B4-BE49-F238E27FC236}">
                  <a16:creationId xmlns:a16="http://schemas.microsoft.com/office/drawing/2014/main" id="{E755CA58-09D0-6D28-5F50-71D1A433A896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Recharge in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provides you with personalized studying of concepts you’ve learned. Built with the power of learning science, you’ll know just what to study!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1E45B606-2B6C-7FAC-8328-9A5B7B3BB8E3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Know What to Study</a:t>
              </a:r>
            </a:p>
          </p:txBody>
        </p:sp>
      </p:grpSp>
      <p:pic>
        <p:nvPicPr>
          <p:cNvPr id="83" name="Graphic 82" descr="Chat bubble outline">
            <a:extLst>
              <a:ext uri="{FF2B5EF4-FFF2-40B4-BE49-F238E27FC236}">
                <a16:creationId xmlns:a16="http://schemas.microsoft.com/office/drawing/2014/main" id="{3EC52EBC-83C9-D758-D8EE-B47ED5A348A2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35633" y="3187590"/>
            <a:ext cx="823222" cy="823222"/>
          </a:xfrm>
          <a:prstGeom prst="rect">
            <a:avLst/>
          </a:prstGeom>
        </p:spPr>
      </p:pic>
      <p:grpSp>
        <p:nvGrpSpPr>
          <p:cNvPr id="21" name="Group 20" descr="Focus. View the Reports in Connect to understand key concepts from the content.">
            <a:extLst>
              <a:ext uri="{FF2B5EF4-FFF2-40B4-BE49-F238E27FC236}">
                <a16:creationId xmlns:a16="http://schemas.microsoft.com/office/drawing/2014/main" id="{C57DD816-45BD-248D-0E3C-C675FE6A5F80}"/>
              </a:ext>
            </a:extLst>
          </p:cNvPr>
          <p:cNvGrpSpPr>
            <a:grpSpLocks noGrp="1" noUngrp="1" noRot="1" noMove="1" noResize="1"/>
          </p:cNvGrpSpPr>
          <p:nvPr/>
        </p:nvGrpSpPr>
        <p:grpSpPr>
          <a:xfrm>
            <a:off x="7407768" y="1988182"/>
            <a:ext cx="3809806" cy="773924"/>
            <a:chOff x="6712960" y="1530785"/>
            <a:chExt cx="2405788" cy="773924"/>
          </a:xfrm>
        </p:grpSpPr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0FFB3366-15D0-6D31-51F7-89C54E46048E}"/>
                </a:ext>
              </a:extLst>
            </p:cNvPr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781489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View the Reports in Connect to understand key concepts from the content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DC8AC9A0-5315-5051-B9C0-4C65E9CEA8ED}"/>
                </a:ext>
              </a:extLst>
            </p:cNvPr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Focus!</a:t>
              </a:r>
            </a:p>
          </p:txBody>
        </p:sp>
      </p:grpSp>
      <p:pic>
        <p:nvPicPr>
          <p:cNvPr id="89" name="Graphic 88" descr="Ui Ux outline">
            <a:extLst>
              <a:ext uri="{FF2B5EF4-FFF2-40B4-BE49-F238E27FC236}">
                <a16:creationId xmlns:a16="http://schemas.microsoft.com/office/drawing/2014/main" id="{0080D1CD-4548-941A-1441-8EA4FDB99A6E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6384281" y="2085798"/>
            <a:ext cx="646197" cy="646197"/>
          </a:xfrm>
          <a:prstGeom prst="rect">
            <a:avLst/>
          </a:prstGeom>
        </p:spPr>
      </p:pic>
      <p:grpSp>
        <p:nvGrpSpPr>
          <p:cNvPr id="34" name="Group 33" descr="Learn On-the-Go. Download the free ReadAnywhere app to take your eBook and SmartBook with you—online and offline."/>
          <p:cNvGrpSpPr>
            <a:grpSpLocks noGrp="1" noUngrp="1" noRot="1" noMove="1" noResize="1"/>
          </p:cNvGrpSpPr>
          <p:nvPr/>
        </p:nvGrpSpPr>
        <p:grpSpPr>
          <a:xfrm>
            <a:off x="5979102" y="904473"/>
            <a:ext cx="5958898" cy="815133"/>
            <a:chOff x="6712960" y="1530785"/>
            <a:chExt cx="2405788" cy="815133"/>
          </a:xfrm>
        </p:grpSpPr>
        <p:sp>
          <p:nvSpPr>
            <p:cNvPr id="32" name="Rectangle 31"/>
            <p:cNvSpPr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822698"/>
              <a:ext cx="2405788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400" dirty="0">
                  <a:latin typeface="Calibri"/>
                  <a:cs typeface="Calibri"/>
                </a:rPr>
                <a:t>Download the free </a:t>
              </a:r>
              <a:r>
                <a:rPr lang="en-US" sz="1400" dirty="0" err="1">
                  <a:latin typeface="Calibri"/>
                  <a:cs typeface="Calibri"/>
                </a:rPr>
                <a:t>ReadAnywhere</a:t>
              </a:r>
              <a:r>
                <a:rPr lang="en-US" sz="1400" dirty="0">
                  <a:latin typeface="Calibri"/>
                  <a:cs typeface="Calibri"/>
                </a:rPr>
                <a:t> app to take your eBook and </a:t>
              </a:r>
              <a:r>
                <a:rPr lang="en-US" sz="1400" dirty="0" err="1">
                  <a:latin typeface="Calibri"/>
                  <a:cs typeface="Calibri"/>
                </a:rPr>
                <a:t>SmartBook</a:t>
              </a:r>
              <a:r>
                <a:rPr lang="en-US" sz="1400" dirty="0">
                  <a:latin typeface="Calibri"/>
                  <a:cs typeface="Calibri"/>
                </a:rPr>
                <a:t> with you—online</a:t>
              </a:r>
              <a:r>
                <a:rPr lang="en-US" sz="1400" i="1" dirty="0">
                  <a:latin typeface="Calibri"/>
                  <a:cs typeface="Calibri"/>
                </a:rPr>
                <a:t> and </a:t>
              </a:r>
              <a:r>
                <a:rPr lang="en-US" sz="1400" dirty="0">
                  <a:latin typeface="Calibri"/>
                  <a:cs typeface="Calibri"/>
                </a:rPr>
                <a:t>offline.</a:t>
              </a:r>
              <a:endParaRPr lang="en-IN" sz="14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TextBox 32"/>
            <p:cNvSpPr txBox="1">
              <a:spLocks noGrp="1" noRot="1" noMove="1" noResize="1" noEditPoints="1" noAdjustHandles="1" noChangeArrowheads="1" noChangeShapeType="1"/>
            </p:cNvSpPr>
            <p:nvPr/>
          </p:nvSpPr>
          <p:spPr>
            <a:xfrm>
              <a:off x="6712960" y="1530785"/>
              <a:ext cx="240578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IN" sz="160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itchFamily="34" charset="0"/>
                  <a:cs typeface="Arial" pitchFamily="34" charset="0"/>
                </a:rPr>
                <a:t>Learn On-the-Go</a:t>
              </a:r>
            </a:p>
          </p:txBody>
        </p:sp>
      </p:grpSp>
      <p:pic>
        <p:nvPicPr>
          <p:cNvPr id="87" name="Graphic 86" descr="Smiling face outline outline">
            <a:extLst>
              <a:ext uri="{FF2B5EF4-FFF2-40B4-BE49-F238E27FC236}">
                <a16:creationId xmlns:a16="http://schemas.microsoft.com/office/drawing/2014/main" id="{75B10BC4-02A1-3C20-4F37-4D8CED478A93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53679" y="1027309"/>
            <a:ext cx="732442" cy="732442"/>
          </a:xfrm>
          <a:prstGeom prst="rect">
            <a:avLst/>
          </a:prstGeom>
        </p:spPr>
      </p:pic>
      <p:sp>
        <p:nvSpPr>
          <p:cNvPr id="4" name="Arc 3" descr="Make the most of connect to gain success!"/>
          <p:cNvSpPr>
            <a:spLocks noGrp="1" noRot="1" noMove="1" noResize="1" noEditPoints="1" noAdjustHandles="1" noChangeArrowheads="1" noChangeShapeType="1"/>
          </p:cNvSpPr>
          <p:nvPr/>
        </p:nvSpPr>
        <p:spPr>
          <a:xfrm>
            <a:off x="567259" y="1612212"/>
            <a:ext cx="4378036" cy="4378034"/>
          </a:xfrm>
          <a:prstGeom prst="arc">
            <a:avLst>
              <a:gd name="adj1" fmla="val 16200000"/>
              <a:gd name="adj2" fmla="val 5361653"/>
            </a:avLst>
          </a:prstGeom>
          <a:ln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IN"/>
          </a:p>
        </p:txBody>
      </p:sp>
      <p:pic>
        <p:nvPicPr>
          <p:cNvPr id="9" name="Picture 8" descr="McGraw Hill Connect Logo">
            <a:extLst>
              <a:ext uri="{FF2B5EF4-FFF2-40B4-BE49-F238E27FC236}">
                <a16:creationId xmlns:a16="http://schemas.microsoft.com/office/drawing/2014/main" id="{DE7325CA-533B-03D5-50AF-AC408B2AF38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9523633" y="256749"/>
            <a:ext cx="2341460" cy="550591"/>
          </a:xfrm>
          <a:prstGeom prst="rect">
            <a:avLst/>
          </a:prstGeom>
        </p:spPr>
      </p:pic>
      <p:sp>
        <p:nvSpPr>
          <p:cNvPr id="2" name="Title 1"/>
          <p:cNvSpPr>
            <a:spLocks noGrp="1" noRot="1" noMove="1" noResize="1" noEditPoints="1" noAdjustHandles="1" noChangeArrowheads="1" noChangeShapeType="1"/>
          </p:cNvSpPr>
          <p:nvPr>
            <p:ph type="title"/>
          </p:nvPr>
        </p:nvSpPr>
        <p:spPr>
          <a:xfrm>
            <a:off x="672494" y="-147031"/>
            <a:ext cx="10515600" cy="1325563"/>
          </a:xfrm>
        </p:spPr>
        <p:txBody>
          <a:bodyPr>
            <a:normAutofit/>
          </a:bodyPr>
          <a:lstStyle/>
          <a:p>
            <a:r>
              <a:rPr lang="en-IN" sz="3600" b="1" dirty="0">
                <a:solidFill>
                  <a:srgbClr val="002060"/>
                </a:solidFill>
              </a:rPr>
              <a:t>Make the Most of Connect!</a:t>
            </a:r>
          </a:p>
        </p:txBody>
      </p:sp>
    </p:spTree>
    <p:extLst>
      <p:ext uri="{BB962C8B-B14F-4D97-AF65-F5344CB8AC3E}">
        <p14:creationId xmlns:p14="http://schemas.microsoft.com/office/powerpoint/2010/main" val="320765291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0BDBB3D-08E0-4F77-D05F-727E0D26A5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A6EE572-9EC7-1B66-88F3-F2C925BC559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4427538" y="1714500"/>
            <a:ext cx="7081837" cy="4451350"/>
          </a:xfrm>
          <a:prstGeom prst="rect">
            <a:avLst/>
          </a:prstGeom>
          <a:noFill/>
          <a:ln>
            <a:noFill/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Thank you!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19C3C409-5836-B155-D0DA-9EF618E5A3F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98651" y="2662133"/>
            <a:ext cx="3661086" cy="142057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>
                <a:latin typeface="Arial"/>
                <a:cs typeface="Arial"/>
              </a:rPr>
              <a:t>Getting Started with McGraw Hill Connect</a:t>
            </a:r>
            <a:r>
              <a:rPr lang="en-US" baseline="30000">
                <a:latin typeface="Arial"/>
                <a:cs typeface="Arial"/>
              </a:rPr>
              <a:t> ®</a:t>
            </a:r>
            <a:r>
              <a:rPr lang="en-US" baseline="3000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US">
                <a:solidFill>
                  <a:schemeClr val="accent4">
                    <a:lumMod val="75000"/>
                  </a:schemeClr>
                </a:solidFill>
                <a:latin typeface="Arial"/>
                <a:cs typeface="Arial"/>
              </a:rPr>
              <a:t>and Sharpen</a:t>
            </a:r>
            <a:endParaRPr lang="en-US" baseline="30000">
              <a:solidFill>
                <a:schemeClr val="accent4">
                  <a:lumMod val="7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E89D20-0534-3B8B-5C63-8AD4D1A2904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>
            <a:spLocks/>
          </p:cNvSpPr>
          <p:nvPr/>
        </p:nvSpPr>
        <p:spPr>
          <a:xfrm>
            <a:off x="101373" y="4090759"/>
            <a:ext cx="3572059" cy="678629"/>
          </a:xfrm>
          <a:prstGeom prst="rect">
            <a:avLst/>
          </a:prstGeom>
        </p:spPr>
        <p:txBody>
          <a:bodyPr lIns="91440" tIns="45720" rIns="91440" bIns="45720" anchor="t"/>
          <a:lstStyle>
            <a:lvl1pPr marL="342900" indent="-342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indent="-28575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What to Know on Your</a:t>
            </a:r>
            <a:br>
              <a:rPr lang="en-US"/>
            </a:br>
            <a:r>
              <a:rPr lang="en-US">
                <a:solidFill>
                  <a:schemeClr val="bg1"/>
                </a:solidFill>
                <a:latin typeface="Arial"/>
                <a:cs typeface="Arial"/>
              </a:rPr>
              <a:t>First Day of Clas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7C413EC-DFE6-8E97-763B-6A458D13D6F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0242" t="15990" b="239"/>
          <a:stretch/>
        </p:blipFill>
        <p:spPr>
          <a:xfrm>
            <a:off x="3884263" y="2239979"/>
            <a:ext cx="5848785" cy="4620372"/>
          </a:xfrm>
          <a:prstGeom prst="rect">
            <a:avLst/>
          </a:prstGeom>
        </p:spPr>
      </p:pic>
      <p:pic>
        <p:nvPicPr>
          <p:cNvPr id="11" name="Picture 10" descr="Laptop showing the McGraw Hill Connect platform and a mobile phone showing the Sharpen study app.​">
            <a:extLst>
              <a:ext uri="{FF2B5EF4-FFF2-40B4-BE49-F238E27FC236}">
                <a16:creationId xmlns:a16="http://schemas.microsoft.com/office/drawing/2014/main" id="{6526AF70-00EB-6272-9C69-35FECD9C6363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38272" y="4941165"/>
            <a:ext cx="2304184" cy="1663123"/>
          </a:xfrm>
          <a:prstGeom prst="rect">
            <a:avLst/>
          </a:prstGeom>
        </p:spPr>
      </p:pic>
      <p:pic>
        <p:nvPicPr>
          <p:cNvPr id="14" name="Picture 13" descr="Sharpen on a computer screen and a mobile phone.">
            <a:extLst>
              <a:ext uri="{FF2B5EF4-FFF2-40B4-BE49-F238E27FC236}">
                <a16:creationId xmlns:a16="http://schemas.microsoft.com/office/drawing/2014/main" id="{A296A8E8-78EB-8F12-DA69-3DB75E69C93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225131" y="3120364"/>
            <a:ext cx="2077732" cy="1625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22047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B689AD-3D61-36EA-2948-6B112DE424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1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884D9E0-C4F1-9D66-8F9F-2C7B5B1221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anvas LTIA with Regular Deep Integration</a:t>
            </a:r>
          </a:p>
          <a:p>
            <a:endParaRPr lang="en-US" dirty="0"/>
          </a:p>
        </p:txBody>
      </p:sp>
      <p:pic>
        <p:nvPicPr>
          <p:cNvPr id="4" name="Picture 3" descr="Student in computer lab typing on laptop.">
            <a:extLst>
              <a:ext uri="{FF2B5EF4-FFF2-40B4-BE49-F238E27FC236}">
                <a16:creationId xmlns:a16="http://schemas.microsoft.com/office/drawing/2014/main" id="{AF3AFC82-7C61-DC66-C643-548367B3DB8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50407" y="1776412"/>
            <a:ext cx="3305175" cy="3305175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AA45F9B9-E32E-C37A-7B68-4ED6AC21FF2D}"/>
              </a:ext>
            </a:extLst>
          </p:cNvPr>
          <p:cNvSpPr txBox="1"/>
          <p:nvPr/>
        </p:nvSpPr>
        <p:spPr>
          <a:xfrm>
            <a:off x="4517712" y="1857543"/>
            <a:ext cx="692388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Arial"/>
                <a:cs typeface="Arial"/>
              </a:rPr>
              <a:t>Login into your Canvas account and navigate to your course.  </a:t>
            </a:r>
            <a:endParaRPr lang="en-US" dirty="0"/>
          </a:p>
          <a:p>
            <a:r>
              <a:rPr lang="en-US" dirty="0"/>
              <a:t>                </a:t>
            </a:r>
          </a:p>
          <a:p>
            <a:r>
              <a:rPr lang="en-US" dirty="0">
                <a:latin typeface="Arial"/>
                <a:cs typeface="Arial"/>
              </a:rPr>
              <a:t>If you are not sure if you have a Canvas account, check with your instructor.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78593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CC81779-ED6B-C1F6-67BC-417EE87BE8A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BEF012F-23DA-E89E-87E8-98AB82EE80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2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44FC930-A7C5-0A96-EBF0-F5DAB7EDA0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anvas LTIA with Regular Deep Integration</a:t>
            </a:r>
          </a:p>
          <a:p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91D6B3-F334-BF8B-2D50-7214895F8693}"/>
              </a:ext>
            </a:extLst>
          </p:cNvPr>
          <p:cNvSpPr txBox="1"/>
          <p:nvPr/>
        </p:nvSpPr>
        <p:spPr>
          <a:xfrm>
            <a:off x="682672" y="1951907"/>
            <a:ext cx="692388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Navigate to a Connect assignment link and click on it.    </a:t>
            </a:r>
          </a:p>
          <a:p>
            <a:endParaRPr lang="en-US" dirty="0"/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25525D92-6D11-8670-9BEB-9F5B424007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988137" y="2769596"/>
            <a:ext cx="7904670" cy="3588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65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66140C-3D9B-35D8-5A39-128A9611941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83A130-29C2-E441-1428-7557D25C17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3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4AA4E02-6AE3-16DC-A0A0-04F56927A6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anvas LTIA with Regular Deep Integration</a:t>
            </a:r>
          </a:p>
          <a:p>
            <a:endParaRPr lang="en-US" dirty="0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21BAABA9-7BBE-47C0-31E6-39608C1D76B7}"/>
              </a:ext>
            </a:extLst>
          </p:cNvPr>
          <p:cNvSpPr txBox="1">
            <a:spLocks/>
          </p:cNvSpPr>
          <p:nvPr/>
        </p:nvSpPr>
        <p:spPr>
          <a:xfrm>
            <a:off x="682672" y="1736496"/>
            <a:ext cx="3201988" cy="4374092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Begin</a:t>
            </a:r>
            <a:r>
              <a:rPr lang="en-US" dirty="0"/>
              <a:t>. </a:t>
            </a:r>
          </a:p>
        </p:txBody>
      </p:sp>
      <p:pic>
        <p:nvPicPr>
          <p:cNvPr id="6" name="Picture 5" descr="Image shows Connect prompt where there is a blue rectangular box where you will click to begin registration. ">
            <a:extLst>
              <a:ext uri="{FF2B5EF4-FFF2-40B4-BE49-F238E27FC236}">
                <a16:creationId xmlns:a16="http://schemas.microsoft.com/office/drawing/2014/main" id="{66FAE266-F022-7D30-0497-12E7B6EC80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2684" y="2663455"/>
            <a:ext cx="5580896" cy="252017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59125584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79E7C4-3776-7E45-0132-1F4CB8DED29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30D99D-2C1B-FDCE-788D-C0A7FF819F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4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45DF7C4-1F6B-4888-0BC4-462CFB4954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anvas LTIA with Regular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084FAEE-FF49-B11E-3E7A-7B4B3400ECD7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b="1" dirty="0"/>
              <a:t>Sign In </a:t>
            </a:r>
            <a:r>
              <a:rPr lang="en-US" dirty="0"/>
              <a:t>with an existing Connect account or </a:t>
            </a:r>
            <a:r>
              <a:rPr lang="en-US" b="1" dirty="0"/>
              <a:t>Create Account</a:t>
            </a:r>
            <a:r>
              <a:rPr lang="en-US" dirty="0"/>
              <a:t>.</a:t>
            </a:r>
          </a:p>
          <a:p>
            <a:pPr>
              <a:spcBef>
                <a:spcPts val="600"/>
              </a:spcBef>
              <a:spcAft>
                <a:spcPts val="900"/>
              </a:spcAft>
            </a:pPr>
            <a:r>
              <a:rPr lang="en-US" dirty="0">
                <a:solidFill>
                  <a:srgbClr val="000000"/>
                </a:solidFill>
              </a:rPr>
              <a:t>Connect will create an auto-paired account using information from the LMS launch.</a:t>
            </a:r>
          </a:p>
          <a:p>
            <a:pPr>
              <a:spcBef>
                <a:spcPts val="600"/>
              </a:spcBef>
              <a:spcAft>
                <a:spcPts val="900"/>
              </a:spcAft>
            </a:pPr>
            <a:endParaRPr lang="en-US" sz="1600" dirty="0"/>
          </a:p>
        </p:txBody>
      </p:sp>
      <p:pic>
        <p:nvPicPr>
          <p:cNvPr id="8" name="Picture 7" descr="The prompt on the left of the screen will be where you create a new account. The prompt on the right will be where you enter an existing email address and password for Connect. ">
            <a:extLst>
              <a:ext uri="{FF2B5EF4-FFF2-40B4-BE49-F238E27FC236}">
                <a16:creationId xmlns:a16="http://schemas.microsoft.com/office/drawing/2014/main" id="{7AA9A1D3-1E21-7DF9-E8AD-B8DCB9DEC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84590" y="3035328"/>
            <a:ext cx="6520417" cy="3118784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3638442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468A716-DACA-CF3D-863F-8EFA576259A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17D12E-7A7F-F8A2-7B40-F499FFBB4D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2672" y="454986"/>
            <a:ext cx="10515600" cy="1325563"/>
          </a:xfrm>
        </p:spPr>
        <p:txBody>
          <a:bodyPr>
            <a:normAutofit/>
          </a:bodyPr>
          <a:lstStyle/>
          <a:p>
            <a:r>
              <a:rPr lang="en-US" sz="2200" dirty="0"/>
              <a:t>Step 5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3CC5B0A-0678-0993-D1DD-FB6C0370FC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2672" y="283628"/>
            <a:ext cx="4454104" cy="331932"/>
          </a:xfrm>
        </p:spPr>
        <p:txBody>
          <a:bodyPr/>
          <a:lstStyle/>
          <a:p>
            <a:r>
              <a:rPr lang="en-US" dirty="0"/>
              <a:t>Canvas LTIA with Regular Deep Integration</a:t>
            </a:r>
          </a:p>
          <a:p>
            <a:endParaRPr lang="en-US" dirty="0"/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03DF3A86-8B89-88C8-5653-488D37437088}"/>
              </a:ext>
            </a:extLst>
          </p:cNvPr>
          <p:cNvSpPr txBox="1">
            <a:spLocks/>
          </p:cNvSpPr>
          <p:nvPr/>
        </p:nvSpPr>
        <p:spPr>
          <a:xfrm>
            <a:off x="682672" y="1780549"/>
            <a:ext cx="8553686" cy="4373563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800100" marR="0" indent="-3429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200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573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1145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343150" marR="0" indent="-28575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6pPr>
            <a:lvl7pPr marL="2743200" marR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7pPr>
            <a:lvl8pPr marL="3429000" marR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 b="1" i="0" kern="1200">
                <a:solidFill>
                  <a:schemeClr val="tx1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Click </a:t>
            </a:r>
            <a:r>
              <a:rPr lang="en-US" b="1" dirty="0"/>
              <a:t>Confirm</a:t>
            </a:r>
            <a:r>
              <a:rPr lang="en-US" dirty="0"/>
              <a:t>.   You are now registered. </a:t>
            </a:r>
          </a:p>
        </p:txBody>
      </p:sp>
      <p:pic>
        <p:nvPicPr>
          <p:cNvPr id="4" name="Picture 3" descr="The course information will be displayed and if correct you will click on the red rectangular box to Confirm registration. ">
            <a:extLst>
              <a:ext uri="{FF2B5EF4-FFF2-40B4-BE49-F238E27FC236}">
                <a16:creationId xmlns:a16="http://schemas.microsoft.com/office/drawing/2014/main" id="{A14813D8-8516-B152-639B-185399878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9337" y="2952107"/>
            <a:ext cx="6513325" cy="2612711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38606582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C5483EE-6588-8FB8-5E2B-7BC513C15E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3004" y="1042819"/>
            <a:ext cx="7425786" cy="690503"/>
          </a:xfrm>
        </p:spPr>
        <p:txBody>
          <a:bodyPr>
            <a:normAutofit fontScale="90000"/>
          </a:bodyPr>
          <a:lstStyle/>
          <a:p>
            <a:r>
              <a:rPr lang="en-US">
                <a:latin typeface="Arial"/>
                <a:cs typeface="Arial"/>
              </a:rPr>
              <a:t>Slides Available for the First Day of Class: Sharpen Companion, non-IA, Canvas</a:t>
            </a:r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54EA526-D390-E19A-BD6B-0CD609A59E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en-US">
                <a:latin typeface="Arial"/>
                <a:cs typeface="Arial"/>
              </a:rPr>
              <a:t>McGraw Hill First Day of Class 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BDD4F1-225D-2004-AEB8-C78EE5CDD19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rial"/>
                <a:cs typeface="Arial"/>
              </a:rPr>
              <a:t>Getting Started with McGraw Hill</a:t>
            </a:r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67892B8-AB1F-0462-871B-2BFA44332D4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86966" y="1951406"/>
            <a:ext cx="8574933" cy="3746527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buFont typeface="Wingdings,Sans-Serif" panose="020B0604020202020204" pitchFamily="34" charset="0"/>
              <a:buChar char="q"/>
            </a:pPr>
            <a:r>
              <a:rPr lang="en-US" sz="1400" b="1">
                <a:latin typeface="Arial"/>
                <a:cs typeface="Arial"/>
              </a:rPr>
              <a:t>McGraw Hill Connect and Sharpen</a:t>
            </a:r>
            <a:r>
              <a:rPr lang="en-US" sz="1400">
                <a:latin typeface="Arial"/>
                <a:cs typeface="Arial"/>
              </a:rPr>
              <a:t>:</a:t>
            </a:r>
            <a:endParaRPr lang="en-US" sz="1400" strike="sngStrike">
              <a:highlight>
                <a:srgbClr val="FFFF00"/>
              </a:highlight>
              <a:latin typeface="Arial"/>
              <a:cs typeface="Arial"/>
            </a:endParaRP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and Sharpen Companion FDOC Slides 2 – 9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Purchase Flows</a:t>
            </a:r>
            <a:endParaRPr lang="en-US" sz="1400"/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Non-IA: Connect with an LMS: Canvas Slides 10 – 18</a:t>
            </a:r>
          </a:p>
          <a:p>
            <a:pPr lvl="1">
              <a:spcBef>
                <a:spcPts val="500"/>
              </a:spcBef>
              <a:buFont typeface="Wingdings,Sans-Serif" panose="020B0604020202020204" pitchFamily="34" charset="0"/>
              <a:buChar char="q"/>
            </a:pPr>
            <a:r>
              <a:rPr lang="en-US" sz="1400">
                <a:latin typeface="Arial"/>
                <a:cs typeface="Arial"/>
              </a:rPr>
              <a:t>Connect Log-In Flows</a:t>
            </a:r>
          </a:p>
          <a:p>
            <a:pPr lvl="2">
              <a:spcBef>
                <a:spcPts val="500"/>
              </a:spcBef>
              <a:buFont typeface="Wingdings" panose="020B0604020202020204" pitchFamily="34" charset="0"/>
              <a:buChar char="§"/>
            </a:pPr>
            <a:r>
              <a:rPr lang="en-US">
                <a:latin typeface="Arial"/>
                <a:cs typeface="Arial"/>
              </a:rPr>
              <a:t>Non-IA and IA: Connect with an LMS Slides 19 – 22</a:t>
            </a:r>
          </a:p>
          <a:p>
            <a:pPr>
              <a:buFont typeface="Wingdings,Sans-Serif" panose="020B0604020202020204" pitchFamily="34" charset="0"/>
              <a:buChar char="q"/>
            </a:pPr>
            <a:endParaRPr lang="en-US" sz="1400">
              <a:latin typeface="Arial"/>
              <a:cs typeface="Arial"/>
            </a:endParaRPr>
          </a:p>
          <a:p>
            <a:pPr>
              <a:buFont typeface="Wingdings,Sans-Serif" panose="020B0604020202020204" pitchFamily="34" charset="0"/>
              <a:buChar char="q"/>
            </a:pPr>
            <a:endParaRPr lang="en-US" sz="1400"/>
          </a:p>
          <a:p>
            <a:pPr>
              <a:buFont typeface="Wingdings" panose="020B0604020202020204" pitchFamily="34" charset="0"/>
              <a:buChar char="q"/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29798977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352815ED-5449-C549-90F0-EF17730CF768}"/>
    </a:ext>
  </a:extLst>
</a:theme>
</file>

<file path=ppt/theme/theme10.xml><?xml version="1.0" encoding="utf-8"?>
<a:theme xmlns:a="http://schemas.openxmlformats.org/drawingml/2006/main" name="Closing Slides">
  <a:themeElements>
    <a:clrScheme name="Custom 3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5D7D9312-D834-4646-A40F-5CFBDD29F038}"/>
    </a:ext>
  </a:extLst>
</a:theme>
</file>

<file path=ppt/theme/theme11.xml><?xml version="1.0" encoding="utf-8"?>
<a:theme xmlns:a="http://schemas.openxmlformats.org/drawingml/2006/main" name="Master Slide Gray Header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cGraw Hill PPT template as of 12.7.21" id="{AFE06423-DED1-418F-A980-C7FCDD9FF36E}" vid="{37397CAB-5060-489A-BB65-9DFAEE360247}"/>
    </a:ext>
  </a:extLst>
</a:theme>
</file>

<file path=ppt/theme/theme12.xml><?xml version="1.0" encoding="utf-8"?>
<a:theme xmlns:a="http://schemas.openxmlformats.org/drawingml/2006/main" name="7_Office Theme">
  <a:themeElements>
    <a:clrScheme name="Redi">
      <a:dk1>
        <a:srgbClr val="313936"/>
      </a:dk1>
      <a:lt1>
        <a:srgbClr val="F2F6F3"/>
      </a:lt1>
      <a:dk2>
        <a:srgbClr val="313936"/>
      </a:dk2>
      <a:lt2>
        <a:srgbClr val="F3F6F4"/>
      </a:lt2>
      <a:accent1>
        <a:srgbClr val="FED67A"/>
      </a:accent1>
      <a:accent2>
        <a:srgbClr val="F4A352"/>
      </a:accent2>
      <a:accent3>
        <a:srgbClr val="F16E55"/>
      </a:accent3>
      <a:accent4>
        <a:srgbClr val="BE497F"/>
      </a:accent4>
      <a:accent5>
        <a:srgbClr val="AA285E"/>
      </a:accent5>
      <a:accent6>
        <a:srgbClr val="4D2F71"/>
      </a:accent6>
      <a:hlink>
        <a:srgbClr val="57C1DD"/>
      </a:hlink>
      <a:folHlink>
        <a:srgbClr val="1E93C6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4.xml><?xml version="1.0" encoding="utf-8"?>
<a:theme xmlns:a="http://schemas.openxmlformats.org/drawingml/2006/main" name="Office Theme 2013 - 202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 2013 - 2022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able of Contents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B39F900F-F438-ED4C-9BB9-27EDD81E7952}"/>
    </a:ext>
  </a:extLst>
</a:theme>
</file>

<file path=ppt/theme/theme3.xml><?xml version="1.0" encoding="utf-8"?>
<a:theme xmlns:a="http://schemas.openxmlformats.org/drawingml/2006/main" name="Chapter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DED5EA3D-16A4-7C45-BF12-D3DCD01D7420}"/>
    </a:ext>
  </a:extLst>
</a:theme>
</file>

<file path=ppt/theme/theme4.xml><?xml version="1.0" encoding="utf-8"?>
<a:theme xmlns:a="http://schemas.openxmlformats.org/drawingml/2006/main" name="Split Conten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C3BA3656-BF0F-DA41-B94C-4D0F4B5A7075}"/>
    </a:ext>
  </a:extLst>
</a:theme>
</file>

<file path=ppt/theme/theme5.xml><?xml version="1.0" encoding="utf-8"?>
<a:theme xmlns:a="http://schemas.openxmlformats.org/drawingml/2006/main" name="List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845AF564-5821-B446-B673-46A17AAE1048}"/>
    </a:ext>
  </a:extLst>
</a:theme>
</file>

<file path=ppt/theme/theme6.xml><?xml version="1.0" encoding="utf-8"?>
<a:theme xmlns:a="http://schemas.openxmlformats.org/drawingml/2006/main" name="Call-Out Box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15D6BFAF-FDB0-6C4F-BE05-70B8932CB53C}"/>
    </a:ext>
  </a:extLst>
</a:theme>
</file>

<file path=ppt/theme/theme7.xml><?xml version="1.0" encoding="utf-8"?>
<a:theme xmlns:a="http://schemas.openxmlformats.org/drawingml/2006/main" name="Column and Statistic Slides">
  <a:themeElements>
    <a:clrScheme name="Custom 5">
      <a:dk1>
        <a:srgbClr val="333333"/>
      </a:dk1>
      <a:lt1>
        <a:srgbClr val="FFFFFF"/>
      </a:lt1>
      <a:dk2>
        <a:srgbClr val="06235B"/>
      </a:dk2>
      <a:lt2>
        <a:srgbClr val="E5E5E5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800E14"/>
      </a:accent5>
      <a:accent6>
        <a:srgbClr val="D9E5FC"/>
      </a:accent6>
      <a:hlink>
        <a:srgbClr val="666666"/>
      </a:hlink>
      <a:folHlink>
        <a:srgbClr val="333333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68866F8D-219E-1D48-8232-F35BAF3AB18E}"/>
    </a:ext>
  </a:extLst>
</a:theme>
</file>

<file path=ppt/theme/theme8.xml><?xml version="1.0" encoding="utf-8"?>
<a:theme xmlns:a="http://schemas.openxmlformats.org/drawingml/2006/main" name="Quot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99952907-742D-2147-98E7-3817E1F17243}"/>
    </a:ext>
  </a:extLst>
</a:theme>
</file>

<file path=ppt/theme/theme9.xml><?xml version="1.0" encoding="utf-8"?>
<a:theme xmlns:a="http://schemas.openxmlformats.org/drawingml/2006/main" name="Bio Slides">
  <a:themeElements>
    <a:clrScheme name="Custom 2">
      <a:dk1>
        <a:srgbClr val="333333"/>
      </a:dk1>
      <a:lt1>
        <a:srgbClr val="FFFFFF"/>
      </a:lt1>
      <a:dk2>
        <a:srgbClr val="06235B"/>
      </a:dk2>
      <a:lt2>
        <a:srgbClr val="666666"/>
      </a:lt2>
      <a:accent1>
        <a:srgbClr val="E21A23"/>
      </a:accent1>
      <a:accent2>
        <a:srgbClr val="FFE7E7"/>
      </a:accent2>
      <a:accent3>
        <a:srgbClr val="440B7F"/>
      </a:accent3>
      <a:accent4>
        <a:srgbClr val="E3B9FC"/>
      </a:accent4>
      <a:accent5>
        <a:srgbClr val="06235B"/>
      </a:accent5>
      <a:accent6>
        <a:srgbClr val="D9E5FC"/>
      </a:accent6>
      <a:hlink>
        <a:srgbClr val="666666"/>
      </a:hlink>
      <a:folHlink>
        <a:srgbClr val="33333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9931DC2E-4ECA-2E49-A118-CC125A6A516C}" vid="{E689B527-ECED-9640-BAF2-E295E40E1BB3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5eee036-b312-4691-be2e-efe9fdaf1737">
      <Terms xmlns="http://schemas.microsoft.com/office/infopath/2007/PartnerControls"/>
    </lcf76f155ced4ddcb4097134ff3c332f>
    <TaxCatchAll xmlns="4f83251b-4d3b-4580-8981-be5e2b08b79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63E5BD4A2DB99489DADB245B77948E1" ma:contentTypeVersion="14" ma:contentTypeDescription="Create a new document." ma:contentTypeScope="" ma:versionID="8fe2cf224561322f6307ff69f0cbd4e8">
  <xsd:schema xmlns:xsd="http://www.w3.org/2001/XMLSchema" xmlns:xs="http://www.w3.org/2001/XMLSchema" xmlns:p="http://schemas.microsoft.com/office/2006/metadata/properties" xmlns:ns2="55eee036-b312-4691-be2e-efe9fdaf1737" xmlns:ns3="4f83251b-4d3b-4580-8981-be5e2b08b791" targetNamespace="http://schemas.microsoft.com/office/2006/metadata/properties" ma:root="true" ma:fieldsID="efd146875e61d015b75b2115db56588f" ns2:_="" ns3:_="">
    <xsd:import namespace="55eee036-b312-4691-be2e-efe9fdaf1737"/>
    <xsd:import namespace="4f83251b-4d3b-4580-8981-be5e2b08b79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eee036-b312-4691-be2e-efe9fdaf1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db8617a1-beef-4e24-867f-51551f54cfe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83251b-4d3b-4580-8981-be5e2b08b791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c39b3064-63db-4cd0-875f-805d9032981a}" ma:internalName="TaxCatchAll" ma:showField="CatchAllData" ma:web="4f83251b-4d3b-4580-8981-be5e2b08b79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4F98F79-CDE5-4D73-B2C6-1BC6C1BC02F1}">
  <ds:schemaRefs>
    <ds:schemaRef ds:uri="http://purl.org/dc/elements/1.1/"/>
    <ds:schemaRef ds:uri="http://purl.org/dc/terms/"/>
    <ds:schemaRef ds:uri="http://schemas.microsoft.com/office/2006/metadata/properties"/>
    <ds:schemaRef ds:uri="http://schemas.microsoft.com/office/2006/documentManagement/types"/>
    <ds:schemaRef ds:uri="55eee036-b312-4691-be2e-efe9fdaf1737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4f83251b-4d3b-4580-8981-be5e2b08b791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CAF8A242-C1F0-43FD-A20A-7A9892EDE4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5eee036-b312-4691-be2e-efe9fdaf1737"/>
    <ds:schemaRef ds:uri="4f83251b-4d3b-4580-8981-be5e2b08b79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92827D6-6DC0-4774-96A1-CBE039113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3.03.13 McGraw Hill PowerPoint Template</Template>
  <TotalTime>8</TotalTime>
  <Words>1766</Words>
  <Application>Microsoft Macintosh PowerPoint</Application>
  <PresentationFormat>Widescreen</PresentationFormat>
  <Paragraphs>231</Paragraphs>
  <Slides>30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0</vt:i4>
      </vt:variant>
    </vt:vector>
  </HeadingPairs>
  <TitlesOfParts>
    <vt:vector size="51" baseType="lpstr">
      <vt:lpstr>Arial</vt:lpstr>
      <vt:lpstr>Arial Black</vt:lpstr>
      <vt:lpstr>Arial,Sans-Serif</vt:lpstr>
      <vt:lpstr>Calibri</vt:lpstr>
      <vt:lpstr>Magazine Grotesque</vt:lpstr>
      <vt:lpstr>Magazine Grotesque Bold</vt:lpstr>
      <vt:lpstr>Wingdings</vt:lpstr>
      <vt:lpstr>Wingdings,Sans-Serif</vt:lpstr>
      <vt:lpstr>Cover Slides</vt:lpstr>
      <vt:lpstr>Table of Contents Slides</vt:lpstr>
      <vt:lpstr>Chapter Slides</vt:lpstr>
      <vt:lpstr>Split Content Slides</vt:lpstr>
      <vt:lpstr>List Slides</vt:lpstr>
      <vt:lpstr>Call-Out Box Slides</vt:lpstr>
      <vt:lpstr>Column and Statistic Slides</vt:lpstr>
      <vt:lpstr>Quotes</vt:lpstr>
      <vt:lpstr>Bio Slides</vt:lpstr>
      <vt:lpstr>Closing Slides</vt:lpstr>
      <vt:lpstr>Master Slide Gray Header</vt:lpstr>
      <vt:lpstr>7_Office Theme</vt:lpstr>
      <vt:lpstr>think-cell Slide</vt:lpstr>
      <vt:lpstr>McGraw Hill Connect ®</vt:lpstr>
      <vt:lpstr>Connect is your personalized digital learning experience designed to help you optimize study time and ramp up your grade potential.</vt:lpstr>
      <vt:lpstr>Make the Most of Connect!</vt:lpstr>
      <vt:lpstr>Step 1</vt:lpstr>
      <vt:lpstr>Step 2</vt:lpstr>
      <vt:lpstr>Step 3</vt:lpstr>
      <vt:lpstr>Step 4</vt:lpstr>
      <vt:lpstr>Step 5</vt:lpstr>
      <vt:lpstr>Slides Available for the First Day of Class: Sharpen Companion, non-IA, Canvas</vt:lpstr>
      <vt:lpstr>Getting Started with McGraw Hill Connect ® and Sharpen</vt:lpstr>
      <vt:lpstr>Students: What is Sharpen?</vt:lpstr>
      <vt:lpstr>Sharpen is the ultimate college study app for exam prep</vt:lpstr>
      <vt:lpstr>Download the Sharpen College Study App – Scan This Code​</vt:lpstr>
      <vt:lpstr>Students, here are tips to make the most of Connect: </vt:lpstr>
      <vt:lpstr>Students, here are some tips to ace your exams with Sharpen:</vt:lpstr>
      <vt:lpstr>Students: Study on your Smartphone or Tablet!</vt:lpstr>
      <vt:lpstr>Connect Student Support Learn how to register, navigate Connect, use SmartBook®, download the ReadAnywhere® app, and more!  mheducation.com/highered/support/student/connect.html Plus, access technical support via chat  or phone at (800) 331-5094. Hours of Operation: Sunday: 12 PM to 12 AM ET Monday–Thursday: 24 hours Friday: 12 AM to 9 PM ET Saturday: 10 AM to 8 PM ET</vt:lpstr>
      <vt:lpstr>Sharpen Companion Purchase Flow Non-IA Registration: Connect Integrated with a Learning Management System (LMS)</vt:lpstr>
      <vt:lpstr>Accessing McGraw Hill Connect:  Canvas</vt:lpstr>
      <vt:lpstr>Step 2:</vt:lpstr>
      <vt:lpstr>Step 3A:</vt:lpstr>
      <vt:lpstr>Step 3B-3C:</vt:lpstr>
      <vt:lpstr>Step 4A: </vt:lpstr>
      <vt:lpstr>Step 4B-4C: </vt:lpstr>
      <vt:lpstr>Step 5C: </vt:lpstr>
      <vt:lpstr>Register for Connect in Your School’s LMS</vt:lpstr>
      <vt:lpstr>Sharpen Companion Log-In Flow Non-IA and IA: Connect Integrated with a Learning Management System (LMS) </vt:lpstr>
      <vt:lpstr>Sharpen Companion Log-In Flow Part 1</vt:lpstr>
      <vt:lpstr>Sharpen Companion Log-In Flow Part 2</vt:lpstr>
      <vt:lpstr>Thank you!</vt:lpstr>
    </vt:vector>
  </TitlesOfParts>
  <Company>McGraw-Hil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etting Started with ALEKS®</dc:title>
  <dc:creator>Hicks, Selena</dc:creator>
  <cp:lastModifiedBy>Griffin, Raven</cp:lastModifiedBy>
  <cp:revision>6</cp:revision>
  <dcterms:created xsi:type="dcterms:W3CDTF">2023-07-10T01:20:11Z</dcterms:created>
  <dcterms:modified xsi:type="dcterms:W3CDTF">2025-05-28T20:52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3E5BD4A2DB99489DADB245B77948E1</vt:lpwstr>
  </property>
  <property fmtid="{D5CDD505-2E9C-101B-9397-08002B2CF9AE}" pid="3" name="MediaServiceImageTags">
    <vt:lpwstr/>
  </property>
  <property fmtid="{D5CDD505-2E9C-101B-9397-08002B2CF9AE}" pid="4" name="Order">
    <vt:lpwstr>2220300.00000000</vt:lpwstr>
  </property>
  <property fmtid="{D5CDD505-2E9C-101B-9397-08002B2CF9AE}" pid="5" name="xd_ProgID">
    <vt:lpwstr/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TriggerFlowInfo">
    <vt:lpwstr/>
  </property>
  <property fmtid="{D5CDD505-2E9C-101B-9397-08002B2CF9AE}" pid="10" name="xd_Signature">
    <vt:lpwstr/>
  </property>
</Properties>
</file>